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charts/chart4.xml" ContentType="application/vnd.openxmlformats-officedocument.drawingml.chart+xml"/>
  <Override PartName="/ppt/theme/themeOverride2.xml" ContentType="application/vnd.openxmlformats-officedocument.themeOverride+xml"/>
  <Override PartName="/ppt/drawings/drawing2.xml" ContentType="application/vnd.openxmlformats-officedocument.drawingml.chartshapes+xml"/>
  <Override PartName="/ppt/charts/chart5.xml" ContentType="application/vnd.openxmlformats-officedocument.drawingml.chart+xml"/>
  <Override PartName="/ppt/theme/themeOverride3.xml" ContentType="application/vnd.openxmlformats-officedocument.themeOverride+xml"/>
  <Override PartName="/ppt/drawings/drawing3.xml" ContentType="application/vnd.openxmlformats-officedocument.drawingml.chartshape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5.xml" ContentType="application/vnd.openxmlformats-officedocument.presentationml.notesSlide+xml"/>
  <Override PartName="/ppt/charts/chart6.xml" ContentType="application/vnd.openxmlformats-officedocument.drawingml.chart+xml"/>
  <Override PartName="/ppt/theme/themeOverride4.xml" ContentType="application/vnd.openxmlformats-officedocument.themeOverride+xml"/>
  <Override PartName="/ppt/charts/chart7.xml" ContentType="application/vnd.openxmlformats-officedocument.drawingml.chart+xml"/>
  <Override PartName="/ppt/theme/themeOverride5.xml" ContentType="application/vnd.openxmlformats-officedocument.themeOverride+xml"/>
  <Override PartName="/ppt/charts/chart8.xml" ContentType="application/vnd.openxmlformats-officedocument.drawingml.chart+xml"/>
  <Override PartName="/ppt/theme/themeOverride6.xml" ContentType="application/vnd.openxmlformats-officedocument.themeOverride+xml"/>
  <Override PartName="/ppt/tags/tag17.xml" ContentType="application/vnd.openxmlformats-officedocument.presentationml.tags+xml"/>
  <Override PartName="/ppt/notesSlides/notesSlide6.xml" ContentType="application/vnd.openxmlformats-officedocument.presentationml.notesSlide+xml"/>
  <Override PartName="/ppt/charts/chart9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8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0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11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8.xml" ContentType="application/vnd.openxmlformats-officedocument.presentationml.notesSlide+xml"/>
  <Override PartName="/ppt/tags/tag21.xml" ContentType="application/vnd.openxmlformats-officedocument.presentationml.tags+xml"/>
  <Override PartName="/ppt/notesSlides/notesSlide9.xml" ContentType="application/vnd.openxmlformats-officedocument.presentationml.notesSlide+xml"/>
  <Override PartName="/ppt/charts/chart12.xml" ContentType="application/vnd.openxmlformats-officedocument.drawingml.chart+xml"/>
  <Override PartName="/ppt/tags/tag22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</p:sldMasterIdLst>
  <p:notesMasterIdLst>
    <p:notesMasterId r:id="rId16"/>
  </p:notesMasterIdLst>
  <p:handoutMasterIdLst>
    <p:handoutMasterId r:id="rId17"/>
  </p:handoutMasterIdLst>
  <p:sldIdLst>
    <p:sldId id="377" r:id="rId6"/>
    <p:sldId id="361" r:id="rId7"/>
    <p:sldId id="334" r:id="rId8"/>
    <p:sldId id="306" r:id="rId9"/>
    <p:sldId id="307" r:id="rId10"/>
    <p:sldId id="415" r:id="rId11"/>
    <p:sldId id="416" r:id="rId12"/>
    <p:sldId id="380" r:id="rId13"/>
    <p:sldId id="357" r:id="rId14"/>
    <p:sldId id="390" r:id="rId15"/>
  </p:sldIdLst>
  <p:sldSz cx="12192000" cy="6858000"/>
  <p:notesSz cx="6811963" cy="9942513"/>
  <p:custDataLst>
    <p:tags r:id="rId1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2">
          <p15:clr>
            <a:srgbClr val="A4A3A4"/>
          </p15:clr>
        </p15:guide>
        <p15:guide id="2" orient="horz" pos="437">
          <p15:clr>
            <a:srgbClr val="A4A3A4"/>
          </p15:clr>
        </p15:guide>
        <p15:guide id="3" orient="horz" pos="709">
          <p15:clr>
            <a:srgbClr val="A4A3A4"/>
          </p15:clr>
        </p15:guide>
        <p15:guide id="4" orient="horz" pos="1117">
          <p15:clr>
            <a:srgbClr val="A4A3A4"/>
          </p15:clr>
        </p15:guide>
        <p15:guide id="5" orient="horz" pos="3561">
          <p15:clr>
            <a:srgbClr val="A4A3A4"/>
          </p15:clr>
        </p15:guide>
        <p15:guide id="6" pos="5117">
          <p15:clr>
            <a:srgbClr val="A4A3A4"/>
          </p15:clr>
        </p15:guide>
        <p15:guide id="7" pos="7378">
          <p15:clr>
            <a:srgbClr val="A4A3A4"/>
          </p15:clr>
        </p15:guide>
        <p15:guide id="8" pos="23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ehler, Katia (GfK)" initials="DK(" lastIdx="7" clrIdx="0">
    <p:extLst>
      <p:ext uri="{19B8F6BF-5375-455C-9EA6-DF929625EA0E}">
        <p15:presenceInfo xmlns:p15="http://schemas.microsoft.com/office/powerpoint/2012/main" userId="S-1-5-21-1328376081-1279679187-339368940-346355" providerId="AD"/>
      </p:ext>
    </p:extLst>
  </p:cmAuthor>
  <p:cmAuthor id="2" name="Ruggle, Bastian (GfK)" initials="RB(" lastIdx="1" clrIdx="1">
    <p:extLst>
      <p:ext uri="{19B8F6BF-5375-455C-9EA6-DF929625EA0E}">
        <p15:presenceInfo xmlns:p15="http://schemas.microsoft.com/office/powerpoint/2012/main" userId="S::Bastian.Ruggle@gfk.com::be9ef723-77ff-42f1-afaf-136704551d57" providerId="AD"/>
      </p:ext>
    </p:extLst>
  </p:cmAuthor>
  <p:cmAuthor id="3" name="Frost Stephen BK" initials="FSB" lastIdx="2" clrIdx="2">
    <p:extLst>
      <p:ext uri="{19B8F6BF-5375-455C-9EA6-DF929625EA0E}">
        <p15:presenceInfo xmlns:p15="http://schemas.microsoft.com/office/powerpoint/2012/main" userId="S-1-5-21-3993060671-4215906946-993041443-52625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A1838"/>
    <a:srgbClr val="9B1128"/>
    <a:srgbClr val="7395D3"/>
    <a:srgbClr val="ADC1E5"/>
    <a:srgbClr val="82A1D8"/>
    <a:srgbClr val="4472C4"/>
    <a:srgbClr val="3660AC"/>
    <a:srgbClr val="264378"/>
    <a:srgbClr val="DE304D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427" autoAdjust="0"/>
    <p:restoredTop sz="73326" autoAdjust="0"/>
  </p:normalViewPr>
  <p:slideViewPr>
    <p:cSldViewPr snapToObjects="1">
      <p:cViewPr varScale="1">
        <p:scale>
          <a:sx n="113" d="100"/>
          <a:sy n="113" d="100"/>
        </p:scale>
        <p:origin x="1556" y="68"/>
      </p:cViewPr>
      <p:guideLst>
        <p:guide orient="horz" pos="302"/>
        <p:guide orient="horz" pos="437"/>
        <p:guide orient="horz" pos="709"/>
        <p:guide orient="horz" pos="1117"/>
        <p:guide orient="horz" pos="3561"/>
        <p:guide pos="5117"/>
        <p:guide pos="7378"/>
        <p:guide pos="239"/>
      </p:guideLst>
    </p:cSldViewPr>
  </p:slid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00" d="100"/>
        <a:sy n="100" d="100"/>
      </p:scale>
      <p:origin x="0" y="-2088"/>
    </p:cViewPr>
  </p:sorterViewPr>
  <p:notesViewPr>
    <p:cSldViewPr snapToObjects="1">
      <p:cViewPr varScale="1">
        <p:scale>
          <a:sx n="78" d="100"/>
          <a:sy n="78" d="100"/>
        </p:scale>
        <p:origin x="4050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2.xml"/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2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3.xml"/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3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4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5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.xlsx"/><Relationship Id="rId1" Type="http://schemas.openxmlformats.org/officeDocument/2006/relationships/themeOverride" Target="../theme/themeOverride6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5705386037593819E-2"/>
          <c:y val="0"/>
          <c:w val="0.97532010765520971"/>
          <c:h val="0.866004671044493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Analog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Lbls>
            <c:dLbl>
              <c:idx val="13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US" sz="1600" b="0" i="0" u="none" strike="noStrike" kern="1200" baseline="0">
                      <a:solidFill>
                        <a:prstClr val="white"/>
                      </a:solidFill>
                      <a:latin typeface="+mj-lt"/>
                      <a:ea typeface="Cambria" panose="02040503050406030204" pitchFamily="18" charset="0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5B86-4884-9578-5412F425B6A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 rtl="0">
                  <a:defRPr lang="en-US" sz="1600" b="0" i="0" u="none" strike="noStrike" kern="1200" baseline="0">
                    <a:solidFill>
                      <a:prstClr val="white"/>
                    </a:solidFill>
                    <a:latin typeface="+mj-lt"/>
                    <a:ea typeface="Cambria" panose="02040503050406030204" pitchFamily="18" charset="0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8</c:f>
              <c:strCache>
                <c:ptCount val="17"/>
                <c:pt idx="0">
                  <c:v>2015
Autumn</c:v>
                </c:pt>
                <c:pt idx="1">
                  <c:v>2016
Spring</c:v>
                </c:pt>
                <c:pt idx="2">
                  <c:v>2016
Autumn</c:v>
                </c:pt>
                <c:pt idx="3">
                  <c:v>2017
Spring</c:v>
                </c:pt>
                <c:pt idx="4">
                  <c:v>2017
Autumn</c:v>
                </c:pt>
                <c:pt idx="5">
                  <c:v>2018
Spring</c:v>
                </c:pt>
                <c:pt idx="6">
                  <c:v>2018
Autumn</c:v>
                </c:pt>
                <c:pt idx="7">
                  <c:v>2019
Spring</c:v>
                </c:pt>
                <c:pt idx="8">
                  <c:v>2019
Autumn</c:v>
                </c:pt>
                <c:pt idx="9">
                  <c:v>2020
Spring</c:v>
                </c:pt>
                <c:pt idx="10">
                  <c:v>2020
Autumn</c:v>
                </c:pt>
                <c:pt idx="11">
                  <c:v>2021 Spring</c:v>
                </c:pt>
                <c:pt idx="12">
                  <c:v>2021
Autumn</c:v>
                </c:pt>
                <c:pt idx="13">
                  <c:v>2022 Spring</c:v>
                </c:pt>
                <c:pt idx="14">
                  <c:v>2022 Autumn</c:v>
                </c:pt>
                <c:pt idx="15">
                  <c:v>2023 Spring</c:v>
                </c:pt>
                <c:pt idx="16">
                  <c:v>2023 Autumn</c:v>
                </c:pt>
              </c:strCache>
            </c:strRef>
          </c:cat>
          <c:val>
            <c:numRef>
              <c:f>Tabelle1!$B$2:$B$18</c:f>
              <c:numCache>
                <c:formatCode>0%</c:formatCode>
                <c:ptCount val="17"/>
                <c:pt idx="0">
                  <c:v>0.51</c:v>
                </c:pt>
                <c:pt idx="1">
                  <c:v>0.47</c:v>
                </c:pt>
                <c:pt idx="2">
                  <c:v>0.46</c:v>
                </c:pt>
                <c:pt idx="3">
                  <c:v>0.43</c:v>
                </c:pt>
                <c:pt idx="4">
                  <c:v>0.39</c:v>
                </c:pt>
                <c:pt idx="5">
                  <c:v>0.37</c:v>
                </c:pt>
                <c:pt idx="6">
                  <c:v>0.36</c:v>
                </c:pt>
                <c:pt idx="7">
                  <c:v>0.35</c:v>
                </c:pt>
                <c:pt idx="8">
                  <c:v>0.32</c:v>
                </c:pt>
                <c:pt idx="9">
                  <c:v>0.28999999999999998</c:v>
                </c:pt>
                <c:pt idx="10">
                  <c:v>0.27</c:v>
                </c:pt>
                <c:pt idx="11">
                  <c:v>0.28999999999999998</c:v>
                </c:pt>
                <c:pt idx="12">
                  <c:v>0.25</c:v>
                </c:pt>
                <c:pt idx="13">
                  <c:v>0.25</c:v>
                </c:pt>
                <c:pt idx="14">
                  <c:v>0.23</c:v>
                </c:pt>
                <c:pt idx="15">
                  <c:v>0.19</c:v>
                </c:pt>
                <c:pt idx="16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441-4582-854B-6E22FF5D1436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igital</c:v>
                </c:pt>
              </c:strCache>
            </c:strRef>
          </c:tx>
          <c:spPr>
            <a:solidFill>
              <a:srgbClr val="DA1838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DA183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1441-4582-854B-6E22FF5D143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 rtl="0">
                  <a:defRPr lang="en-US" sz="1600" b="0" i="0" u="none" strike="noStrike" kern="1200" baseline="0">
                    <a:solidFill>
                      <a:prstClr val="white"/>
                    </a:solidFill>
                    <a:latin typeface="+mj-lt"/>
                    <a:ea typeface="Cambria" panose="02040503050406030204" pitchFamily="18" charset="0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8</c:f>
              <c:strCache>
                <c:ptCount val="17"/>
                <c:pt idx="0">
                  <c:v>2015
Autumn</c:v>
                </c:pt>
                <c:pt idx="1">
                  <c:v>2016
Spring</c:v>
                </c:pt>
                <c:pt idx="2">
                  <c:v>2016
Autumn</c:v>
                </c:pt>
                <c:pt idx="3">
                  <c:v>2017
Spring</c:v>
                </c:pt>
                <c:pt idx="4">
                  <c:v>2017
Autumn</c:v>
                </c:pt>
                <c:pt idx="5">
                  <c:v>2018
Spring</c:v>
                </c:pt>
                <c:pt idx="6">
                  <c:v>2018
Autumn</c:v>
                </c:pt>
                <c:pt idx="7">
                  <c:v>2019
Spring</c:v>
                </c:pt>
                <c:pt idx="8">
                  <c:v>2019
Autumn</c:v>
                </c:pt>
                <c:pt idx="9">
                  <c:v>2020
Spring</c:v>
                </c:pt>
                <c:pt idx="10">
                  <c:v>2020
Autumn</c:v>
                </c:pt>
                <c:pt idx="11">
                  <c:v>2021 Spring</c:v>
                </c:pt>
                <c:pt idx="12">
                  <c:v>2021
Autumn</c:v>
                </c:pt>
                <c:pt idx="13">
                  <c:v>2022 Spring</c:v>
                </c:pt>
                <c:pt idx="14">
                  <c:v>2022 Autumn</c:v>
                </c:pt>
                <c:pt idx="15">
                  <c:v>2023 Spring</c:v>
                </c:pt>
                <c:pt idx="16">
                  <c:v>2023 Autumn</c:v>
                </c:pt>
              </c:strCache>
            </c:strRef>
          </c:cat>
          <c:val>
            <c:numRef>
              <c:f>Tabelle1!$C$2:$C$18</c:f>
              <c:numCache>
                <c:formatCode>0%</c:formatCode>
                <c:ptCount val="17"/>
                <c:pt idx="0">
                  <c:v>0.49</c:v>
                </c:pt>
                <c:pt idx="1">
                  <c:v>0.53</c:v>
                </c:pt>
                <c:pt idx="2">
                  <c:v>0.54</c:v>
                </c:pt>
                <c:pt idx="3">
                  <c:v>0.56999999999999995</c:v>
                </c:pt>
                <c:pt idx="4">
                  <c:v>0.61</c:v>
                </c:pt>
                <c:pt idx="5">
                  <c:v>0.63</c:v>
                </c:pt>
                <c:pt idx="6">
                  <c:v>0.64</c:v>
                </c:pt>
                <c:pt idx="7">
                  <c:v>0.65</c:v>
                </c:pt>
                <c:pt idx="8">
                  <c:v>0.68</c:v>
                </c:pt>
                <c:pt idx="9">
                  <c:v>0.71</c:v>
                </c:pt>
                <c:pt idx="10">
                  <c:v>0.73</c:v>
                </c:pt>
                <c:pt idx="11">
                  <c:v>0.71</c:v>
                </c:pt>
                <c:pt idx="12">
                  <c:v>0.75</c:v>
                </c:pt>
                <c:pt idx="13">
                  <c:v>0.75</c:v>
                </c:pt>
                <c:pt idx="14">
                  <c:v>0.77</c:v>
                </c:pt>
                <c:pt idx="15">
                  <c:v>0.81</c:v>
                </c:pt>
                <c:pt idx="16">
                  <c:v>0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441-4582-854B-6E22FF5D14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656760584"/>
        <c:axId val="656760904"/>
      </c:barChart>
      <c:catAx>
        <c:axId val="6567605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pPr>
            <a:endParaRPr lang="de-DE"/>
          </a:p>
        </c:txPr>
        <c:crossAx val="656760904"/>
        <c:crosses val="autoZero"/>
        <c:auto val="1"/>
        <c:lblAlgn val="ctr"/>
        <c:lblOffset val="100"/>
        <c:noMultiLvlLbl val="0"/>
      </c:catAx>
      <c:valAx>
        <c:axId val="656760904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65676058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5120326993896529E-2"/>
          <c:y val="8.3186599018677365E-2"/>
          <c:w val="0.98487964636986236"/>
          <c:h val="0.9152465345076510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Tabelle3!$C$2</c:f>
              <c:strCache>
                <c:ptCount val="1"/>
                <c:pt idx="0">
                  <c:v>UKW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671F7BAB-F7FC-40D3-93A4-928DA6D6F958}" type="CELLRANGE">
                      <a:rPr lang="en-US"/>
                      <a:pPr/>
                      <a:t>[ZELLBEREICH]</a:t>
                    </a:fld>
                    <a:endParaRPr lang="de-CH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1E23-4472-A82A-BD138ED92973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03892AC2-7711-4E65-88BC-FB01D154926F}" type="CELLRANGE">
                      <a:rPr lang="de-CH"/>
                      <a:pPr/>
                      <a:t>[ZELLBEREICH]</a:t>
                    </a:fld>
                    <a:endParaRPr lang="de-CH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1E23-4472-A82A-BD138ED92973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3FFF1ECE-AC40-405B-81F0-50F5FB3B0BF7}" type="CELLRANGE">
                      <a:rPr lang="de-CH"/>
                      <a:pPr/>
                      <a:t>[ZELLBEREICH]</a:t>
                    </a:fld>
                    <a:endParaRPr lang="de-CH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1E23-4472-A82A-BD138ED92973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E23-4472-A82A-BD138ED92973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1E23-4472-A82A-BD138ED92973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1E23-4472-A82A-BD138ED9297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600" b="0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3!$B$3:$B$8</c:f>
              <c:strCache>
                <c:ptCount val="6"/>
                <c:pt idx="0">
                  <c:v>Zuhause</c:v>
                </c:pt>
                <c:pt idx="1">
                  <c:v>Arbeit</c:v>
                </c:pt>
                <c:pt idx="2">
                  <c:v>Auto</c:v>
                </c:pt>
                <c:pt idx="3">
                  <c:v>Unterwegs</c:v>
                </c:pt>
                <c:pt idx="4">
                  <c:v>Sport</c:v>
                </c:pt>
                <c:pt idx="5">
                  <c:v>Andere</c:v>
                </c:pt>
              </c:strCache>
            </c:strRef>
          </c:cat>
          <c:val>
            <c:numRef>
              <c:f>Tabelle3!$C$3:$C$8</c:f>
              <c:numCache>
                <c:formatCode>0.0</c:formatCode>
                <c:ptCount val="6"/>
                <c:pt idx="0">
                  <c:v>18.692</c:v>
                </c:pt>
                <c:pt idx="1">
                  <c:v>4.7889999999999997</c:v>
                </c:pt>
                <c:pt idx="2">
                  <c:v>6.5259999999999998</c:v>
                </c:pt>
                <c:pt idx="3">
                  <c:v>0.441</c:v>
                </c:pt>
                <c:pt idx="4">
                  <c:v>0.22900000000000001</c:v>
                </c:pt>
                <c:pt idx="5">
                  <c:v>0.79100000000000004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Tabelle3!$H$12:$H$17</c15:f>
                <c15:dlblRangeCache>
                  <c:ptCount val="6"/>
                  <c:pt idx="0">
                    <c:v>19%</c:v>
                  </c:pt>
                  <c:pt idx="1">
                    <c:v>18%</c:v>
                  </c:pt>
                  <c:pt idx="2">
                    <c:v>33%</c:v>
                  </c:pt>
                  <c:pt idx="3">
                    <c:v>6%</c:v>
                  </c:pt>
                  <c:pt idx="4">
                    <c:v>11%</c:v>
                  </c:pt>
                  <c:pt idx="5">
                    <c:v>31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0-FD8B-4124-B7BF-641CC24183E8}"/>
            </c:ext>
          </c:extLst>
        </c:ser>
        <c:ser>
          <c:idx val="1"/>
          <c:order val="1"/>
          <c:tx>
            <c:strRef>
              <c:f>Tabelle3!$D$2</c:f>
              <c:strCache>
                <c:ptCount val="1"/>
                <c:pt idx="0">
                  <c:v>DAB/DAB+</c:v>
                </c:pt>
              </c:strCache>
            </c:strRef>
          </c:tx>
          <c:spPr>
            <a:solidFill>
              <a:srgbClr val="DA1838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63CAA4CD-8765-4DF3-A9A1-BC6C0B6AC8F4}" type="CELLRANGE">
                      <a:rPr lang="en-US"/>
                      <a:pPr/>
                      <a:t>[ZELLBEREICH]</a:t>
                    </a:fld>
                    <a:endParaRPr lang="de-CH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D-1E23-4472-A82A-BD138ED92973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4409D192-BF4E-4ED4-8966-6BD39E08E6EB}" type="CELLRANGE">
                      <a:rPr lang="de-CH"/>
                      <a:pPr/>
                      <a:t>[ZELLBEREICH]</a:t>
                    </a:fld>
                    <a:endParaRPr lang="de-CH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1E23-4472-A82A-BD138ED92973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59257123-BED9-428C-88ED-8F9B942E9E8F}" type="CELLRANGE">
                      <a:rPr lang="de-CH"/>
                      <a:pPr/>
                      <a:t>[ZELLBEREICH]</a:t>
                    </a:fld>
                    <a:endParaRPr lang="de-CH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1E23-4472-A82A-BD138ED92973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1E23-4472-A82A-BD138ED92973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1E23-4472-A82A-BD138ED92973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1E23-4472-A82A-BD138ED9297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3!$B$3:$B$8</c:f>
              <c:strCache>
                <c:ptCount val="6"/>
                <c:pt idx="0">
                  <c:v>Zuhause</c:v>
                </c:pt>
                <c:pt idx="1">
                  <c:v>Arbeit</c:v>
                </c:pt>
                <c:pt idx="2">
                  <c:v>Auto</c:v>
                </c:pt>
                <c:pt idx="3">
                  <c:v>Unterwegs</c:v>
                </c:pt>
                <c:pt idx="4">
                  <c:v>Sport</c:v>
                </c:pt>
                <c:pt idx="5">
                  <c:v>Andere</c:v>
                </c:pt>
              </c:strCache>
            </c:strRef>
          </c:cat>
          <c:val>
            <c:numRef>
              <c:f>Tabelle3!$D$3:$D$8</c:f>
              <c:numCache>
                <c:formatCode>0.0</c:formatCode>
                <c:ptCount val="6"/>
                <c:pt idx="0">
                  <c:v>39.101999999999997</c:v>
                </c:pt>
                <c:pt idx="1">
                  <c:v>10.656000000000001</c:v>
                </c:pt>
                <c:pt idx="2">
                  <c:v>11.02</c:v>
                </c:pt>
                <c:pt idx="3">
                  <c:v>0.57199999999999995</c:v>
                </c:pt>
                <c:pt idx="4">
                  <c:v>1.1180000000000001</c:v>
                </c:pt>
                <c:pt idx="5">
                  <c:v>0.27700000000000002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Tabelle3!$I$12:$I$17</c15:f>
                <c15:dlblRangeCache>
                  <c:ptCount val="6"/>
                  <c:pt idx="0">
                    <c:v>41%</c:v>
                  </c:pt>
                  <c:pt idx="1">
                    <c:v>39%</c:v>
                  </c:pt>
                  <c:pt idx="2">
                    <c:v>55%</c:v>
                  </c:pt>
                  <c:pt idx="3">
                    <c:v>29%</c:v>
                  </c:pt>
                  <c:pt idx="4">
                    <c:v>14%</c:v>
                  </c:pt>
                  <c:pt idx="5">
                    <c:v>11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1-FD8B-4124-B7BF-641CC24183E8}"/>
            </c:ext>
          </c:extLst>
        </c:ser>
        <c:ser>
          <c:idx val="2"/>
          <c:order val="2"/>
          <c:tx>
            <c:strRef>
              <c:f>Tabelle3!$E$2</c:f>
              <c:strCache>
                <c:ptCount val="1"/>
                <c:pt idx="0">
                  <c:v>Internet/Digital</c:v>
                </c:pt>
              </c:strCache>
            </c:strRef>
          </c:tx>
          <c:spPr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FD8B-4124-B7BF-641CC24183E8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6527D0D7-D938-452E-B88D-019347E85AA1}" type="CELLRANGE">
                      <a:rPr lang="de-CH"/>
                      <a:pPr/>
                      <a:t>[ZELLBEREICH]</a:t>
                    </a:fld>
                    <a:endParaRPr lang="de-CH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FD8B-4124-B7BF-641CC24183E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40DB3E4D-1CDA-46DD-80EF-49D35819302B}" type="CELLRANGE">
                      <a:rPr lang="de-CH"/>
                      <a:pPr/>
                      <a:t>[ZELLBEREICH]</a:t>
                    </a:fld>
                    <a:endParaRPr lang="de-CH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1E23-4472-A82A-BD138ED92973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8C545EA9-9A47-4E87-896D-5AAD3081286C}" type="CELLRANGE">
                      <a:rPr lang="de-CH"/>
                      <a:pPr/>
                      <a:t>[ZELLBEREICH]</a:t>
                    </a:fld>
                    <a:endParaRPr lang="de-CH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1-1E23-4472-A82A-BD138ED92973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E23-4472-A82A-BD138ED92973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E23-4472-A82A-BD138ED92973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1E23-4472-A82A-BD138ED9297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cat>
            <c:strRef>
              <c:f>Tabelle3!$B$3:$B$8</c:f>
              <c:strCache>
                <c:ptCount val="6"/>
                <c:pt idx="0">
                  <c:v>Zuhause</c:v>
                </c:pt>
                <c:pt idx="1">
                  <c:v>Arbeit</c:v>
                </c:pt>
                <c:pt idx="2">
                  <c:v>Auto</c:v>
                </c:pt>
                <c:pt idx="3">
                  <c:v>Unterwegs</c:v>
                </c:pt>
                <c:pt idx="4">
                  <c:v>Sport</c:v>
                </c:pt>
                <c:pt idx="5">
                  <c:v>Andere</c:v>
                </c:pt>
              </c:strCache>
            </c:strRef>
          </c:cat>
          <c:val>
            <c:numRef>
              <c:f>Tabelle3!$E$3:$E$8</c:f>
              <c:numCache>
                <c:formatCode>0.0</c:formatCode>
                <c:ptCount val="6"/>
                <c:pt idx="0">
                  <c:v>38.597000000000001</c:v>
                </c:pt>
                <c:pt idx="1">
                  <c:v>11.563000000000001</c:v>
                </c:pt>
                <c:pt idx="2">
                  <c:v>2.5110000000000001</c:v>
                </c:pt>
                <c:pt idx="3">
                  <c:v>3.1659999999999999</c:v>
                </c:pt>
                <c:pt idx="4">
                  <c:v>2.5489999999999999</c:v>
                </c:pt>
                <c:pt idx="5">
                  <c:v>1.4950000000000001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Tabelle3!$J$12:$J$17</c15:f>
                <c15:dlblRangeCache>
                  <c:ptCount val="6"/>
                  <c:pt idx="0">
                    <c:v>40%</c:v>
                  </c:pt>
                  <c:pt idx="1">
                    <c:v>43%</c:v>
                  </c:pt>
                  <c:pt idx="2">
                    <c:v>13%</c:v>
                  </c:pt>
                  <c:pt idx="3">
                    <c:v>65%</c:v>
                  </c:pt>
                  <c:pt idx="4">
                    <c:v>76%</c:v>
                  </c:pt>
                  <c:pt idx="5">
                    <c:v>58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4-FD8B-4124-B7BF-641CC24183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415958528"/>
        <c:axId val="415960064"/>
      </c:barChart>
      <c:catAx>
        <c:axId val="415958528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415960064"/>
        <c:crosses val="autoZero"/>
        <c:auto val="1"/>
        <c:lblAlgn val="ctr"/>
        <c:lblOffset val="100"/>
        <c:noMultiLvlLbl val="0"/>
      </c:catAx>
      <c:valAx>
        <c:axId val="415960064"/>
        <c:scaling>
          <c:orientation val="minMax"/>
          <c:max val="160"/>
        </c:scaling>
        <c:delete val="1"/>
        <c:axPos val="t"/>
        <c:numFmt formatCode="0.0" sourceLinked="1"/>
        <c:majorTickMark val="out"/>
        <c:minorTickMark val="none"/>
        <c:tickLblPos val="nextTo"/>
        <c:crossAx val="41595852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j-lt"/>
                <a:ea typeface="+mn-ea"/>
                <a:cs typeface="+mn-cs"/>
              </a:defRPr>
            </a:pPr>
            <a:r>
              <a:rPr lang="de-CH" sz="1200" dirty="0">
                <a:effectLst/>
              </a:rPr>
              <a:t>Share </a:t>
            </a:r>
            <a:r>
              <a:rPr lang="de-CH" sz="1200" dirty="0" err="1">
                <a:effectLst/>
              </a:rPr>
              <a:t>of</a:t>
            </a:r>
            <a:r>
              <a:rPr lang="de-CH" sz="1200" dirty="0">
                <a:effectLst/>
              </a:rPr>
              <a:t> DAB+ </a:t>
            </a:r>
            <a:r>
              <a:rPr lang="de-CH" sz="1200" dirty="0" err="1">
                <a:effectLst/>
              </a:rPr>
              <a:t>use</a:t>
            </a:r>
            <a:r>
              <a:rPr lang="de-CH" sz="1200" dirty="0">
                <a:effectLst/>
              </a:rPr>
              <a:t> </a:t>
            </a:r>
            <a:r>
              <a:rPr lang="de-CH" sz="1200" dirty="0" err="1">
                <a:effectLst/>
              </a:rPr>
              <a:t>by</a:t>
            </a:r>
            <a:r>
              <a:rPr lang="de-CH" sz="1200" dirty="0">
                <a:effectLst/>
              </a:rPr>
              <a:t> </a:t>
            </a:r>
            <a:r>
              <a:rPr lang="de-CH" sz="1200" dirty="0" err="1">
                <a:effectLst/>
              </a:rPr>
              <a:t>location</a:t>
            </a:r>
            <a:br>
              <a:rPr lang="de-CH" sz="1200" dirty="0">
                <a:effectLst/>
              </a:rPr>
            </a:br>
            <a:r>
              <a:rPr lang="de-CH" sz="1000" dirty="0">
                <a:effectLst/>
              </a:rPr>
              <a:t>(Basis: 100% DAB-</a:t>
            </a:r>
            <a:r>
              <a:rPr lang="de-CH" sz="1000" dirty="0" err="1">
                <a:effectLst/>
              </a:rPr>
              <a:t>use</a:t>
            </a:r>
            <a:r>
              <a:rPr lang="de-CH" sz="1000" dirty="0">
                <a:effectLst/>
              </a:rPr>
              <a:t>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sz="1200" b="0" i="0" u="none" strike="noStrike" kern="1200" spc="0" baseline="0">
              <a:solidFill>
                <a:prstClr val="black">
                  <a:lumMod val="65000"/>
                  <a:lumOff val="35000"/>
                </a:prstClr>
              </a:solidFill>
              <a:latin typeface="+mj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>
        <c:manualLayout>
          <c:layoutTarget val="inner"/>
          <c:xMode val="edge"/>
          <c:yMode val="edge"/>
          <c:x val="3.4615044884910824E-3"/>
          <c:y val="0.32313149959221854"/>
          <c:w val="0.83001130057073313"/>
          <c:h val="0.6768685004077813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B Nutzung</c:v>
                </c:pt>
              </c:strCache>
            </c:strRef>
          </c:tx>
          <c:spPr>
            <a:solidFill>
              <a:srgbClr val="DA1838"/>
            </a:solidFill>
            <a:ln w="19050"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DA1838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48AE-456C-A3BD-BFEE18741FFA}"/>
              </c:ext>
            </c:extLst>
          </c:dPt>
          <c:dPt>
            <c:idx val="1"/>
            <c:invertIfNegative val="0"/>
            <c:bubble3D val="0"/>
            <c:spPr>
              <a:solidFill>
                <a:srgbClr val="DA1838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8AE-456C-A3BD-BFEE18741FFA}"/>
              </c:ext>
            </c:extLst>
          </c:dPt>
          <c:dPt>
            <c:idx val="2"/>
            <c:invertIfNegative val="0"/>
            <c:bubble3D val="0"/>
            <c:spPr>
              <a:solidFill>
                <a:srgbClr val="DA1838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48AE-456C-A3BD-BFEE18741FFA}"/>
              </c:ext>
            </c:extLst>
          </c:dPt>
          <c:dPt>
            <c:idx val="3"/>
            <c:invertIfNegative val="0"/>
            <c:bubble3D val="0"/>
            <c:spPr>
              <a:solidFill>
                <a:srgbClr val="DA1838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8AE-456C-A3BD-BFEE18741FF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Other</c:v>
                </c:pt>
                <c:pt idx="1">
                  <c:v>Work</c:v>
                </c:pt>
                <c:pt idx="2">
                  <c:v>Car</c:v>
                </c:pt>
                <c:pt idx="3">
                  <c:v>Home</c:v>
                </c:pt>
              </c:strCache>
            </c:strRef>
          </c:cat>
          <c:val>
            <c:numRef>
              <c:f>Tabelle1!$B$2:$B$5</c:f>
              <c:numCache>
                <c:formatCode>0%</c:formatCode>
                <c:ptCount val="4"/>
                <c:pt idx="0">
                  <c:v>3.1344264646541074E-2</c:v>
                </c:pt>
                <c:pt idx="1">
                  <c:v>0.16982617804217648</c:v>
                </c:pt>
                <c:pt idx="2">
                  <c:v>0.1756310900265903</c:v>
                </c:pt>
                <c:pt idx="3">
                  <c:v>0.623198467284692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8AE-456C-A3BD-BFEE18741F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402475536"/>
        <c:axId val="402475120"/>
      </c:barChart>
      <c:valAx>
        <c:axId val="402475120"/>
        <c:scaling>
          <c:orientation val="minMax"/>
        </c:scaling>
        <c:delete val="1"/>
        <c:axPos val="b"/>
        <c:numFmt formatCode="0%" sourceLinked="1"/>
        <c:majorTickMark val="out"/>
        <c:minorTickMark val="none"/>
        <c:tickLblPos val="nextTo"/>
        <c:crossAx val="402475536"/>
        <c:crosses val="autoZero"/>
        <c:crossBetween val="between"/>
      </c:valAx>
      <c:catAx>
        <c:axId val="40247553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de-DE"/>
          </a:p>
        </c:txPr>
        <c:crossAx val="40247512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>
        <a:lumMod val="95000"/>
      </a:schemeClr>
    </a:solidFill>
    <a:ln>
      <a:noFill/>
    </a:ln>
    <a:effectLst/>
  </c:spPr>
  <c:txPr>
    <a:bodyPr/>
    <a:lstStyle/>
    <a:p>
      <a:pPr>
        <a:defRPr>
          <a:latin typeface="+mj-lt"/>
        </a:defRPr>
      </a:pPr>
      <a:endParaRPr lang="de-DE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4691462818541568E-2"/>
          <c:y val="3.4907153717661843E-2"/>
          <c:w val="0.97513752446092961"/>
          <c:h val="0.72453193984488262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UKW ONLY
HÖRER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0" i="0" u="none" strike="noStrike" kern="1200" baseline="0">
                    <a:solidFill>
                      <a:schemeClr val="bg1"/>
                    </a:solidFill>
                    <a:latin typeface="+mj-lt"/>
                    <a:ea typeface="Cambria" panose="02040503050406030204" pitchFamily="18" charset="0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8</c:f>
              <c:strCache>
                <c:ptCount val="17"/>
                <c:pt idx="0">
                  <c:v>Autumn 2015</c:v>
                </c:pt>
                <c:pt idx="1">
                  <c:v>Spring 2016</c:v>
                </c:pt>
                <c:pt idx="2">
                  <c:v>Autumn 2016</c:v>
                </c:pt>
                <c:pt idx="3">
                  <c:v>Spring 2017</c:v>
                </c:pt>
                <c:pt idx="4">
                  <c:v>Autumn 2017</c:v>
                </c:pt>
                <c:pt idx="5">
                  <c:v>Spring 2018</c:v>
                </c:pt>
                <c:pt idx="6">
                  <c:v>Autumn 2018</c:v>
                </c:pt>
                <c:pt idx="7">
                  <c:v>Spring 2019</c:v>
                </c:pt>
                <c:pt idx="8">
                  <c:v>Autumn 2019</c:v>
                </c:pt>
                <c:pt idx="9">
                  <c:v>Spring 2020</c:v>
                </c:pt>
                <c:pt idx="10">
                  <c:v>Autumn 2020</c:v>
                </c:pt>
                <c:pt idx="11">
                  <c:v>Spring 2021</c:v>
                </c:pt>
                <c:pt idx="12">
                  <c:v>Autumn 2021</c:v>
                </c:pt>
                <c:pt idx="13">
                  <c:v>Spring 2022</c:v>
                </c:pt>
                <c:pt idx="14">
                  <c:v>Autumn 2022</c:v>
                </c:pt>
                <c:pt idx="15">
                  <c:v>Spring 2023</c:v>
                </c:pt>
                <c:pt idx="16">
                  <c:v>Autumn 2023</c:v>
                </c:pt>
              </c:strCache>
            </c:strRef>
          </c:cat>
          <c:val>
            <c:numRef>
              <c:f>Tabelle1!$B$2:$B$18</c:f>
              <c:numCache>
                <c:formatCode>0%</c:formatCode>
                <c:ptCount val="17"/>
                <c:pt idx="0">
                  <c:v>0.24</c:v>
                </c:pt>
                <c:pt idx="1">
                  <c:v>0.23</c:v>
                </c:pt>
                <c:pt idx="2">
                  <c:v>0.22</c:v>
                </c:pt>
                <c:pt idx="3">
                  <c:v>0.22</c:v>
                </c:pt>
                <c:pt idx="4">
                  <c:v>0.21</c:v>
                </c:pt>
                <c:pt idx="5">
                  <c:v>0.18</c:v>
                </c:pt>
                <c:pt idx="6">
                  <c:v>0.18</c:v>
                </c:pt>
                <c:pt idx="7">
                  <c:v>0.17</c:v>
                </c:pt>
                <c:pt idx="8">
                  <c:v>0.15</c:v>
                </c:pt>
                <c:pt idx="9">
                  <c:v>0.13</c:v>
                </c:pt>
                <c:pt idx="10">
                  <c:v>0.12</c:v>
                </c:pt>
                <c:pt idx="11">
                  <c:v>0.14000000000000001</c:v>
                </c:pt>
                <c:pt idx="12">
                  <c:v>0.14000000000000001</c:v>
                </c:pt>
                <c:pt idx="13">
                  <c:v>0.13</c:v>
                </c:pt>
                <c:pt idx="14">
                  <c:v>0.11</c:v>
                </c:pt>
                <c:pt idx="15">
                  <c:v>0.08</c:v>
                </c:pt>
                <c:pt idx="16">
                  <c:v>9.57867000000000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67-48A9-A254-9130882F8A01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UKW+DIGITAL
HÖRER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0" i="0" u="none" strike="noStrike" kern="1200" baseline="0">
                    <a:solidFill>
                      <a:schemeClr val="bg1"/>
                    </a:solidFill>
                    <a:latin typeface="+mj-lt"/>
                    <a:ea typeface="Cambria" panose="02040503050406030204" pitchFamily="18" charset="0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18</c:f>
              <c:strCache>
                <c:ptCount val="17"/>
                <c:pt idx="0">
                  <c:v>Autumn 2015</c:v>
                </c:pt>
                <c:pt idx="1">
                  <c:v>Spring 2016</c:v>
                </c:pt>
                <c:pt idx="2">
                  <c:v>Autumn 2016</c:v>
                </c:pt>
                <c:pt idx="3">
                  <c:v>Spring 2017</c:v>
                </c:pt>
                <c:pt idx="4">
                  <c:v>Autumn 2017</c:v>
                </c:pt>
                <c:pt idx="5">
                  <c:v>Spring 2018</c:v>
                </c:pt>
                <c:pt idx="6">
                  <c:v>Autumn 2018</c:v>
                </c:pt>
                <c:pt idx="7">
                  <c:v>Spring 2019</c:v>
                </c:pt>
                <c:pt idx="8">
                  <c:v>Autumn 2019</c:v>
                </c:pt>
                <c:pt idx="9">
                  <c:v>Spring 2020</c:v>
                </c:pt>
                <c:pt idx="10">
                  <c:v>Autumn 2020</c:v>
                </c:pt>
                <c:pt idx="11">
                  <c:v>Spring 2021</c:v>
                </c:pt>
                <c:pt idx="12">
                  <c:v>Autumn 2021</c:v>
                </c:pt>
                <c:pt idx="13">
                  <c:v>Spring 2022</c:v>
                </c:pt>
                <c:pt idx="14">
                  <c:v>Autumn 2022</c:v>
                </c:pt>
                <c:pt idx="15">
                  <c:v>Spring 2023</c:v>
                </c:pt>
                <c:pt idx="16">
                  <c:v>Autumn 2023</c:v>
                </c:pt>
              </c:strCache>
            </c:strRef>
          </c:cat>
          <c:val>
            <c:numRef>
              <c:f>Tabelle1!$C$2:$C$18</c:f>
              <c:numCache>
                <c:formatCode>0%</c:formatCode>
                <c:ptCount val="17"/>
                <c:pt idx="0">
                  <c:v>0.51</c:v>
                </c:pt>
                <c:pt idx="1">
                  <c:v>0.5</c:v>
                </c:pt>
                <c:pt idx="2">
                  <c:v>0.47</c:v>
                </c:pt>
                <c:pt idx="3">
                  <c:v>0.43</c:v>
                </c:pt>
                <c:pt idx="4">
                  <c:v>0.42</c:v>
                </c:pt>
                <c:pt idx="5">
                  <c:v>0.43</c:v>
                </c:pt>
                <c:pt idx="6">
                  <c:v>0.39</c:v>
                </c:pt>
                <c:pt idx="7">
                  <c:v>0.41</c:v>
                </c:pt>
                <c:pt idx="8">
                  <c:v>0.39</c:v>
                </c:pt>
                <c:pt idx="9">
                  <c:v>0.38</c:v>
                </c:pt>
                <c:pt idx="10">
                  <c:v>0.39</c:v>
                </c:pt>
                <c:pt idx="11">
                  <c:v>0.36</c:v>
                </c:pt>
                <c:pt idx="12">
                  <c:v>0.33</c:v>
                </c:pt>
                <c:pt idx="13">
                  <c:v>0.31</c:v>
                </c:pt>
                <c:pt idx="14">
                  <c:v>0.31</c:v>
                </c:pt>
                <c:pt idx="15">
                  <c:v>0.31</c:v>
                </c:pt>
                <c:pt idx="16">
                  <c:v>0.314517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067-48A9-A254-9130882F8A01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IGITAL ONLY
HÖRER</c:v>
                </c:pt>
              </c:strCache>
            </c:strRef>
          </c:tx>
          <c:spPr>
            <a:solidFill>
              <a:srgbClr val="DD224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0" i="0" u="none" strike="noStrike" kern="1200" baseline="0">
                    <a:solidFill>
                      <a:schemeClr val="bg1"/>
                    </a:solidFill>
                    <a:latin typeface="+mj-lt"/>
                    <a:ea typeface="Cambria" panose="02040503050406030204" pitchFamily="18" charset="0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18</c:f>
              <c:strCache>
                <c:ptCount val="17"/>
                <c:pt idx="0">
                  <c:v>Autumn 2015</c:v>
                </c:pt>
                <c:pt idx="1">
                  <c:v>Spring 2016</c:v>
                </c:pt>
                <c:pt idx="2">
                  <c:v>Autumn 2016</c:v>
                </c:pt>
                <c:pt idx="3">
                  <c:v>Spring 2017</c:v>
                </c:pt>
                <c:pt idx="4">
                  <c:v>Autumn 2017</c:v>
                </c:pt>
                <c:pt idx="5">
                  <c:v>Spring 2018</c:v>
                </c:pt>
                <c:pt idx="6">
                  <c:v>Autumn 2018</c:v>
                </c:pt>
                <c:pt idx="7">
                  <c:v>Spring 2019</c:v>
                </c:pt>
                <c:pt idx="8">
                  <c:v>Autumn 2019</c:v>
                </c:pt>
                <c:pt idx="9">
                  <c:v>Spring 2020</c:v>
                </c:pt>
                <c:pt idx="10">
                  <c:v>Autumn 2020</c:v>
                </c:pt>
                <c:pt idx="11">
                  <c:v>Spring 2021</c:v>
                </c:pt>
                <c:pt idx="12">
                  <c:v>Autumn 2021</c:v>
                </c:pt>
                <c:pt idx="13">
                  <c:v>Spring 2022</c:v>
                </c:pt>
                <c:pt idx="14">
                  <c:v>Autumn 2022</c:v>
                </c:pt>
                <c:pt idx="15">
                  <c:v>Spring 2023</c:v>
                </c:pt>
                <c:pt idx="16">
                  <c:v>Autumn 2023</c:v>
                </c:pt>
              </c:strCache>
            </c:strRef>
          </c:cat>
          <c:val>
            <c:numRef>
              <c:f>Tabelle1!$D$2:$D$18</c:f>
              <c:numCache>
                <c:formatCode>0%</c:formatCode>
                <c:ptCount val="17"/>
                <c:pt idx="0">
                  <c:v>0.16</c:v>
                </c:pt>
                <c:pt idx="1">
                  <c:v>0.19</c:v>
                </c:pt>
                <c:pt idx="2">
                  <c:v>0.21</c:v>
                </c:pt>
                <c:pt idx="3">
                  <c:v>0.24</c:v>
                </c:pt>
                <c:pt idx="4">
                  <c:v>0.26</c:v>
                </c:pt>
                <c:pt idx="5">
                  <c:v>0.28000000000000003</c:v>
                </c:pt>
                <c:pt idx="6">
                  <c:v>0.31</c:v>
                </c:pt>
                <c:pt idx="7">
                  <c:v>0.31</c:v>
                </c:pt>
                <c:pt idx="8">
                  <c:v>0.34</c:v>
                </c:pt>
                <c:pt idx="9">
                  <c:v>0.36</c:v>
                </c:pt>
                <c:pt idx="10">
                  <c:v>0.37</c:v>
                </c:pt>
                <c:pt idx="11">
                  <c:v>0.38</c:v>
                </c:pt>
                <c:pt idx="12">
                  <c:v>0.41</c:v>
                </c:pt>
                <c:pt idx="13">
                  <c:v>0.43</c:v>
                </c:pt>
                <c:pt idx="14">
                  <c:v>0.45</c:v>
                </c:pt>
                <c:pt idx="15">
                  <c:v>0.48</c:v>
                </c:pt>
                <c:pt idx="16">
                  <c:v>0.45115103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067-48A9-A254-9130882F8A01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NO RADIO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900" b="0" i="0" u="none" strike="noStrike" kern="1200" baseline="0">
                    <a:solidFill>
                      <a:schemeClr val="bg1"/>
                    </a:solidFill>
                    <a:latin typeface="+mj-lt"/>
                    <a:ea typeface="Cambria" panose="02040503050406030204" pitchFamily="18" charset="0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18</c:f>
              <c:strCache>
                <c:ptCount val="17"/>
                <c:pt idx="0">
                  <c:v>Autumn 2015</c:v>
                </c:pt>
                <c:pt idx="1">
                  <c:v>Spring 2016</c:v>
                </c:pt>
                <c:pt idx="2">
                  <c:v>Autumn 2016</c:v>
                </c:pt>
                <c:pt idx="3">
                  <c:v>Spring 2017</c:v>
                </c:pt>
                <c:pt idx="4">
                  <c:v>Autumn 2017</c:v>
                </c:pt>
                <c:pt idx="5">
                  <c:v>Spring 2018</c:v>
                </c:pt>
                <c:pt idx="6">
                  <c:v>Autumn 2018</c:v>
                </c:pt>
                <c:pt idx="7">
                  <c:v>Spring 2019</c:v>
                </c:pt>
                <c:pt idx="8">
                  <c:v>Autumn 2019</c:v>
                </c:pt>
                <c:pt idx="9">
                  <c:v>Spring 2020</c:v>
                </c:pt>
                <c:pt idx="10">
                  <c:v>Autumn 2020</c:v>
                </c:pt>
                <c:pt idx="11">
                  <c:v>Spring 2021</c:v>
                </c:pt>
                <c:pt idx="12">
                  <c:v>Autumn 2021</c:v>
                </c:pt>
                <c:pt idx="13">
                  <c:v>Spring 2022</c:v>
                </c:pt>
                <c:pt idx="14">
                  <c:v>Autumn 2022</c:v>
                </c:pt>
                <c:pt idx="15">
                  <c:v>Spring 2023</c:v>
                </c:pt>
                <c:pt idx="16">
                  <c:v>Autumn 2023</c:v>
                </c:pt>
              </c:strCache>
            </c:strRef>
          </c:cat>
          <c:val>
            <c:numRef>
              <c:f>Tabelle1!$E$2:$E$18</c:f>
              <c:numCache>
                <c:formatCode>0%</c:formatCode>
                <c:ptCount val="17"/>
                <c:pt idx="0">
                  <c:v>0.06</c:v>
                </c:pt>
                <c:pt idx="1">
                  <c:v>0.05</c:v>
                </c:pt>
                <c:pt idx="2">
                  <c:v>7.0000000000000007E-2</c:v>
                </c:pt>
                <c:pt idx="3">
                  <c:v>7.0000000000000007E-2</c:v>
                </c:pt>
                <c:pt idx="4">
                  <c:v>0.08</c:v>
                </c:pt>
                <c:pt idx="5">
                  <c:v>0.08</c:v>
                </c:pt>
                <c:pt idx="6">
                  <c:v>0.09</c:v>
                </c:pt>
                <c:pt idx="7">
                  <c:v>0.09</c:v>
                </c:pt>
                <c:pt idx="8">
                  <c:v>0.11</c:v>
                </c:pt>
                <c:pt idx="9">
                  <c:v>0.1</c:v>
                </c:pt>
                <c:pt idx="10">
                  <c:v>0.1</c:v>
                </c:pt>
                <c:pt idx="11">
                  <c:v>0.1</c:v>
                </c:pt>
                <c:pt idx="12">
                  <c:v>0.1</c:v>
                </c:pt>
                <c:pt idx="13">
                  <c:v>0.1</c:v>
                </c:pt>
                <c:pt idx="14">
                  <c:v>0.11</c:v>
                </c:pt>
                <c:pt idx="15">
                  <c:v>0.11</c:v>
                </c:pt>
                <c:pt idx="16">
                  <c:v>0.11612397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C7F-441E-BD07-674D89728B96}"/>
            </c:ext>
          </c:extLst>
        </c:ser>
        <c:ser>
          <c:idx val="4"/>
          <c:order val="4"/>
          <c:tx>
            <c:strRef>
              <c:f>Tabelle1!$F$1</c:f>
              <c:strCache>
                <c:ptCount val="1"/>
                <c:pt idx="0">
                  <c:v>UNBEKANNT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>
                    <a:solidFill>
                      <a:schemeClr val="bg1"/>
                    </a:solidFill>
                    <a:latin typeface="+mj-lt"/>
                    <a:ea typeface="Cambria" panose="02040503050406030204" pitchFamily="18" charset="0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18</c:f>
              <c:strCache>
                <c:ptCount val="17"/>
                <c:pt idx="0">
                  <c:v>Autumn 2015</c:v>
                </c:pt>
                <c:pt idx="1">
                  <c:v>Spring 2016</c:v>
                </c:pt>
                <c:pt idx="2">
                  <c:v>Autumn 2016</c:v>
                </c:pt>
                <c:pt idx="3">
                  <c:v>Spring 2017</c:v>
                </c:pt>
                <c:pt idx="4">
                  <c:v>Autumn 2017</c:v>
                </c:pt>
                <c:pt idx="5">
                  <c:v>Spring 2018</c:v>
                </c:pt>
                <c:pt idx="6">
                  <c:v>Autumn 2018</c:v>
                </c:pt>
                <c:pt idx="7">
                  <c:v>Spring 2019</c:v>
                </c:pt>
                <c:pt idx="8">
                  <c:v>Autumn 2019</c:v>
                </c:pt>
                <c:pt idx="9">
                  <c:v>Spring 2020</c:v>
                </c:pt>
                <c:pt idx="10">
                  <c:v>Autumn 2020</c:v>
                </c:pt>
                <c:pt idx="11">
                  <c:v>Spring 2021</c:v>
                </c:pt>
                <c:pt idx="12">
                  <c:v>Autumn 2021</c:v>
                </c:pt>
                <c:pt idx="13">
                  <c:v>Spring 2022</c:v>
                </c:pt>
                <c:pt idx="14">
                  <c:v>Autumn 2022</c:v>
                </c:pt>
                <c:pt idx="15">
                  <c:v>Spring 2023</c:v>
                </c:pt>
                <c:pt idx="16">
                  <c:v>Autumn 2023</c:v>
                </c:pt>
              </c:strCache>
            </c:strRef>
          </c:cat>
          <c:val>
            <c:numRef>
              <c:f>Tabelle1!$F$2:$F$18</c:f>
              <c:numCache>
                <c:formatCode>0%</c:formatCode>
                <c:ptCount val="17"/>
                <c:pt idx="0">
                  <c:v>0.03</c:v>
                </c:pt>
                <c:pt idx="1">
                  <c:v>0.03</c:v>
                </c:pt>
                <c:pt idx="2">
                  <c:v>0.03</c:v>
                </c:pt>
                <c:pt idx="3">
                  <c:v>0.04</c:v>
                </c:pt>
                <c:pt idx="4">
                  <c:v>0.03</c:v>
                </c:pt>
                <c:pt idx="5">
                  <c:v>0.03</c:v>
                </c:pt>
                <c:pt idx="6">
                  <c:v>0.03</c:v>
                </c:pt>
                <c:pt idx="7">
                  <c:v>0.03</c:v>
                </c:pt>
                <c:pt idx="8">
                  <c:v>0.03</c:v>
                </c:pt>
                <c:pt idx="9">
                  <c:v>0.03</c:v>
                </c:pt>
                <c:pt idx="10">
                  <c:v>0.02</c:v>
                </c:pt>
                <c:pt idx="11">
                  <c:v>0.03</c:v>
                </c:pt>
                <c:pt idx="12">
                  <c:v>0.02</c:v>
                </c:pt>
                <c:pt idx="13">
                  <c:v>0.03</c:v>
                </c:pt>
                <c:pt idx="14">
                  <c:v>0.02</c:v>
                </c:pt>
                <c:pt idx="15">
                  <c:v>0.02</c:v>
                </c:pt>
                <c:pt idx="16">
                  <c:v>2.24204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C7F-441E-BD07-674D89728B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619209104"/>
        <c:axId val="619202216"/>
      </c:barChart>
      <c:catAx>
        <c:axId val="6192091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pPr>
            <a:endParaRPr lang="de-DE"/>
          </a:p>
        </c:txPr>
        <c:crossAx val="619202216"/>
        <c:crosses val="autoZero"/>
        <c:auto val="1"/>
        <c:lblAlgn val="ctr"/>
        <c:lblOffset val="100"/>
        <c:noMultiLvlLbl val="0"/>
      </c:catAx>
      <c:valAx>
        <c:axId val="619202216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619209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4691462818541568E-2"/>
          <c:y val="3.4907153717661843E-2"/>
          <c:w val="0.97513752446092961"/>
          <c:h val="0.82106042065037688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800" b="0" i="0" u="none" strike="noStrike" kern="1200" baseline="0">
                    <a:solidFill>
                      <a:schemeClr val="bg1"/>
                    </a:solidFill>
                    <a:latin typeface="+mj-lt"/>
                    <a:ea typeface="Cambria" panose="02040503050406030204" pitchFamily="18" charset="0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8</c:f>
              <c:strCache>
                <c:ptCount val="17"/>
                <c:pt idx="0">
                  <c:v>2015
Autumn</c:v>
                </c:pt>
                <c:pt idx="1">
                  <c:v>2016
Spring</c:v>
                </c:pt>
                <c:pt idx="2">
                  <c:v>2016
Autumn</c:v>
                </c:pt>
                <c:pt idx="3">
                  <c:v>2017
Spring</c:v>
                </c:pt>
                <c:pt idx="4">
                  <c:v>2017
Autumn</c:v>
                </c:pt>
                <c:pt idx="5">
                  <c:v>2018
Spring</c:v>
                </c:pt>
                <c:pt idx="6">
                  <c:v>2018
Autumn</c:v>
                </c:pt>
                <c:pt idx="7">
                  <c:v>2019
Spring</c:v>
                </c:pt>
                <c:pt idx="8">
                  <c:v>2019
Autumn</c:v>
                </c:pt>
                <c:pt idx="9">
                  <c:v>2020
Spring</c:v>
                </c:pt>
                <c:pt idx="10">
                  <c:v>2020
Autumn</c:v>
                </c:pt>
                <c:pt idx="11">
                  <c:v>2021 Spring</c:v>
                </c:pt>
                <c:pt idx="12">
                  <c:v>2021
Autumn</c:v>
                </c:pt>
                <c:pt idx="13">
                  <c:v>2022 Spring</c:v>
                </c:pt>
                <c:pt idx="14">
                  <c:v>2022 Autumn</c:v>
                </c:pt>
                <c:pt idx="15">
                  <c:v>2023 Spring</c:v>
                </c:pt>
                <c:pt idx="16">
                  <c:v>2023 Autumn</c:v>
                </c:pt>
              </c:strCache>
            </c:strRef>
          </c:cat>
          <c:val>
            <c:numRef>
              <c:f>Tabelle1!$B$2:$B$18</c:f>
              <c:numCache>
                <c:formatCode>0%</c:formatCode>
                <c:ptCount val="17"/>
                <c:pt idx="0">
                  <c:v>0.51</c:v>
                </c:pt>
                <c:pt idx="1">
                  <c:v>0.47</c:v>
                </c:pt>
                <c:pt idx="2">
                  <c:v>0.46</c:v>
                </c:pt>
                <c:pt idx="3">
                  <c:v>0.43</c:v>
                </c:pt>
                <c:pt idx="4">
                  <c:v>0.39</c:v>
                </c:pt>
                <c:pt idx="5">
                  <c:v>0.37</c:v>
                </c:pt>
                <c:pt idx="6">
                  <c:v>0.36</c:v>
                </c:pt>
                <c:pt idx="7">
                  <c:v>0.35</c:v>
                </c:pt>
                <c:pt idx="8">
                  <c:v>0.32</c:v>
                </c:pt>
                <c:pt idx="9">
                  <c:v>0.28999999999999998</c:v>
                </c:pt>
                <c:pt idx="10">
                  <c:v>0.27</c:v>
                </c:pt>
                <c:pt idx="11">
                  <c:v>0.28999999999999998</c:v>
                </c:pt>
                <c:pt idx="12">
                  <c:v>0.25</c:v>
                </c:pt>
                <c:pt idx="13">
                  <c:v>0.25</c:v>
                </c:pt>
                <c:pt idx="14">
                  <c:v>0.23</c:v>
                </c:pt>
                <c:pt idx="15">
                  <c:v>0.19</c:v>
                </c:pt>
                <c:pt idx="16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67-48A9-A254-9130882F8A01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rgbClr val="DA1838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2.802439765320800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22E-4377-A120-2AA3BF11B7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800" b="0" i="0" u="none" strike="noStrike" kern="1200" baseline="0">
                    <a:solidFill>
                      <a:schemeClr val="bg1"/>
                    </a:solidFill>
                    <a:latin typeface="+mj-lt"/>
                    <a:ea typeface="Cambria" panose="02040503050406030204" pitchFamily="18" charset="0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8</c:f>
              <c:strCache>
                <c:ptCount val="17"/>
                <c:pt idx="0">
                  <c:v>2015
Autumn</c:v>
                </c:pt>
                <c:pt idx="1">
                  <c:v>2016
Spring</c:v>
                </c:pt>
                <c:pt idx="2">
                  <c:v>2016
Autumn</c:v>
                </c:pt>
                <c:pt idx="3">
                  <c:v>2017
Spring</c:v>
                </c:pt>
                <c:pt idx="4">
                  <c:v>2017
Autumn</c:v>
                </c:pt>
                <c:pt idx="5">
                  <c:v>2018
Spring</c:v>
                </c:pt>
                <c:pt idx="6">
                  <c:v>2018
Autumn</c:v>
                </c:pt>
                <c:pt idx="7">
                  <c:v>2019
Spring</c:v>
                </c:pt>
                <c:pt idx="8">
                  <c:v>2019
Autumn</c:v>
                </c:pt>
                <c:pt idx="9">
                  <c:v>2020
Spring</c:v>
                </c:pt>
                <c:pt idx="10">
                  <c:v>2020
Autumn</c:v>
                </c:pt>
                <c:pt idx="11">
                  <c:v>2021 Spring</c:v>
                </c:pt>
                <c:pt idx="12">
                  <c:v>2021
Autumn</c:v>
                </c:pt>
                <c:pt idx="13">
                  <c:v>2022 Spring</c:v>
                </c:pt>
                <c:pt idx="14">
                  <c:v>2022 Autumn</c:v>
                </c:pt>
                <c:pt idx="15">
                  <c:v>2023 Spring</c:v>
                </c:pt>
                <c:pt idx="16">
                  <c:v>2023 Autumn</c:v>
                </c:pt>
              </c:strCache>
            </c:strRef>
          </c:cat>
          <c:val>
            <c:numRef>
              <c:f>Tabelle1!$C$2:$C$18</c:f>
              <c:numCache>
                <c:formatCode>0%</c:formatCode>
                <c:ptCount val="17"/>
                <c:pt idx="0">
                  <c:v>0.23</c:v>
                </c:pt>
                <c:pt idx="1">
                  <c:v>0.27</c:v>
                </c:pt>
                <c:pt idx="2">
                  <c:v>0.26</c:v>
                </c:pt>
                <c:pt idx="3">
                  <c:v>0.32</c:v>
                </c:pt>
                <c:pt idx="4">
                  <c:v>0.34</c:v>
                </c:pt>
                <c:pt idx="5">
                  <c:v>0.34</c:v>
                </c:pt>
                <c:pt idx="6">
                  <c:v>0.33</c:v>
                </c:pt>
                <c:pt idx="7">
                  <c:v>0.35</c:v>
                </c:pt>
                <c:pt idx="8">
                  <c:v>0.37</c:v>
                </c:pt>
                <c:pt idx="9">
                  <c:v>0.39</c:v>
                </c:pt>
                <c:pt idx="10">
                  <c:v>0.41</c:v>
                </c:pt>
                <c:pt idx="11">
                  <c:v>0.37</c:v>
                </c:pt>
                <c:pt idx="12">
                  <c:v>0.38</c:v>
                </c:pt>
                <c:pt idx="13">
                  <c:v>0.41</c:v>
                </c:pt>
                <c:pt idx="14">
                  <c:v>0.41</c:v>
                </c:pt>
                <c:pt idx="15">
                  <c:v>0.41</c:v>
                </c:pt>
                <c:pt idx="16">
                  <c:v>0.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067-48A9-A254-9130882F8A01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rgbClr val="40404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1.4271519124252876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22E-4377-A120-2AA3BF11B7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bg1"/>
                    </a:solidFill>
                    <a:latin typeface="+mj-lt"/>
                    <a:ea typeface="Cambria" panose="02040503050406030204" pitchFamily="18" charset="0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8</c:f>
              <c:strCache>
                <c:ptCount val="17"/>
                <c:pt idx="0">
                  <c:v>2015
Autumn</c:v>
                </c:pt>
                <c:pt idx="1">
                  <c:v>2016
Spring</c:v>
                </c:pt>
                <c:pt idx="2">
                  <c:v>2016
Autumn</c:v>
                </c:pt>
                <c:pt idx="3">
                  <c:v>2017
Spring</c:v>
                </c:pt>
                <c:pt idx="4">
                  <c:v>2017
Autumn</c:v>
                </c:pt>
                <c:pt idx="5">
                  <c:v>2018
Spring</c:v>
                </c:pt>
                <c:pt idx="6">
                  <c:v>2018
Autumn</c:v>
                </c:pt>
                <c:pt idx="7">
                  <c:v>2019
Spring</c:v>
                </c:pt>
                <c:pt idx="8">
                  <c:v>2019
Autumn</c:v>
                </c:pt>
                <c:pt idx="9">
                  <c:v>2020
Spring</c:v>
                </c:pt>
                <c:pt idx="10">
                  <c:v>2020
Autumn</c:v>
                </c:pt>
                <c:pt idx="11">
                  <c:v>2021 Spring</c:v>
                </c:pt>
                <c:pt idx="12">
                  <c:v>2021
Autumn</c:v>
                </c:pt>
                <c:pt idx="13">
                  <c:v>2022 Spring</c:v>
                </c:pt>
                <c:pt idx="14">
                  <c:v>2022 Autumn</c:v>
                </c:pt>
                <c:pt idx="15">
                  <c:v>2023 Spring</c:v>
                </c:pt>
                <c:pt idx="16">
                  <c:v>2023 Autumn</c:v>
                </c:pt>
              </c:strCache>
            </c:strRef>
          </c:cat>
          <c:val>
            <c:numRef>
              <c:f>Tabelle1!$D$2:$D$18</c:f>
              <c:numCache>
                <c:formatCode>0%</c:formatCode>
                <c:ptCount val="17"/>
                <c:pt idx="0">
                  <c:v>0.26</c:v>
                </c:pt>
                <c:pt idx="1">
                  <c:v>0.26</c:v>
                </c:pt>
                <c:pt idx="2">
                  <c:v>0.28000000000000003</c:v>
                </c:pt>
                <c:pt idx="3">
                  <c:v>0.25</c:v>
                </c:pt>
                <c:pt idx="4">
                  <c:v>0.27</c:v>
                </c:pt>
                <c:pt idx="5">
                  <c:v>0.28999999999999998</c:v>
                </c:pt>
                <c:pt idx="6">
                  <c:v>0.31</c:v>
                </c:pt>
                <c:pt idx="7">
                  <c:v>0.3</c:v>
                </c:pt>
                <c:pt idx="8">
                  <c:v>0.31</c:v>
                </c:pt>
                <c:pt idx="9">
                  <c:v>0.32</c:v>
                </c:pt>
                <c:pt idx="10">
                  <c:v>0.32</c:v>
                </c:pt>
                <c:pt idx="11">
                  <c:v>0.34</c:v>
                </c:pt>
                <c:pt idx="12">
                  <c:v>0.37</c:v>
                </c:pt>
                <c:pt idx="13">
                  <c:v>0.34</c:v>
                </c:pt>
                <c:pt idx="14">
                  <c:v>0.36</c:v>
                </c:pt>
                <c:pt idx="15">
                  <c:v>0.4</c:v>
                </c:pt>
                <c:pt idx="16">
                  <c:v>0.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067-48A9-A254-9130882F8A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619209104"/>
        <c:axId val="619202216"/>
      </c:barChart>
      <c:catAx>
        <c:axId val="6192091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pPr>
            <a:endParaRPr lang="de-DE"/>
          </a:p>
        </c:txPr>
        <c:crossAx val="619202216"/>
        <c:crosses val="autoZero"/>
        <c:auto val="1"/>
        <c:lblAlgn val="ctr"/>
        <c:lblOffset val="100"/>
        <c:noMultiLvlLbl val="0"/>
      </c:catAx>
      <c:valAx>
        <c:axId val="619202216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619209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4609866337100946E-2"/>
          <c:y val="0.1136045349229788"/>
          <c:w val="0.9190596620951581"/>
          <c:h val="0.51896284442772789"/>
        </c:manualLayout>
      </c:layout>
      <c:barChart>
        <c:barDir val="col"/>
        <c:grouping val="percentStacked"/>
        <c:varyColors val="0"/>
        <c:ser>
          <c:idx val="0"/>
          <c:order val="0"/>
          <c:spPr>
            <a:solidFill>
              <a:sysClr val="window" lastClr="FFFFFF">
                <a:lumMod val="50000"/>
              </a:sysClr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6F4C-49E7-9CF1-F4C857C9AD9D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6F4C-49E7-9CF1-F4C857C9AD9D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6F4C-49E7-9CF1-F4C857C9AD9D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6F4C-49E7-9CF1-F4C857C9AD9D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6F4C-49E7-9CF1-F4C857C9AD9D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6F4C-49E7-9CF1-F4C857C9AD9D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6F4C-49E7-9CF1-F4C857C9AD9D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6F4C-49E7-9CF1-F4C857C9AD9D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6F4C-49E7-9CF1-F4C857C9AD9D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6F4C-49E7-9CF1-F4C857C9AD9D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6F4C-49E7-9CF1-F4C857C9AD9D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6F4C-49E7-9CF1-F4C857C9AD9D}"/>
              </c:ext>
            </c:extLst>
          </c:dPt>
          <c:dPt>
            <c:idx val="1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6F4C-49E7-9CF1-F4C857C9AD9D}"/>
              </c:ext>
            </c:extLst>
          </c:dPt>
          <c:dPt>
            <c:idx val="1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6F4C-49E7-9CF1-F4C857C9AD9D}"/>
              </c:ext>
            </c:extLst>
          </c:dPt>
          <c:dPt>
            <c:idx val="1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F-6F4C-49E7-9CF1-F4C857C9AD9D}"/>
              </c:ext>
            </c:extLst>
          </c:dPt>
          <c:dLbls>
            <c:dLbl>
              <c:idx val="7"/>
              <c:tx>
                <c:rich>
                  <a:bodyPr/>
                  <a:lstStyle/>
                  <a:p>
                    <a:fld id="{8697C674-1507-4805-8D32-48881BB494A1}" type="VALUE">
                      <a:rPr lang="en-US" sz="700" b="0" i="0" u="none" strike="noStrike" kern="1200" baseline="0">
                        <a:solidFill>
                          <a:schemeClr val="bg1"/>
                        </a:solidFill>
                        <a:latin typeface="+mj-lt"/>
                        <a:ea typeface="Cambria" panose="02040503050406030204" pitchFamily="18" charset="0"/>
                        <a:cs typeface="+mn-cs"/>
                      </a:rPr>
                      <a:pPr/>
                      <a:t>[WERT]</a:t>
                    </a:fld>
                    <a:endParaRPr lang="de-CH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6F4C-49E7-9CF1-F4C857C9AD9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700" b="0" i="0" u="none" strike="noStrike" kern="1200" baseline="0">
                    <a:solidFill>
                      <a:schemeClr val="bg1"/>
                    </a:solidFill>
                    <a:latin typeface="+mj-lt"/>
                    <a:ea typeface="Cambria" panose="02040503050406030204" pitchFamily="18" charset="0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F$16:$V$16</c:f>
              <c:strCache>
                <c:ptCount val="17"/>
                <c:pt idx="0">
                  <c:v>Autumn 2015</c:v>
                </c:pt>
                <c:pt idx="1">
                  <c:v>Spring 2016</c:v>
                </c:pt>
                <c:pt idx="2">
                  <c:v>Autumn 2016</c:v>
                </c:pt>
                <c:pt idx="3">
                  <c:v>Spring 2017</c:v>
                </c:pt>
                <c:pt idx="4">
                  <c:v>Autumn 2017</c:v>
                </c:pt>
                <c:pt idx="5">
                  <c:v>Spring 2018</c:v>
                </c:pt>
                <c:pt idx="6">
                  <c:v>Autumnt 2018</c:v>
                </c:pt>
                <c:pt idx="7">
                  <c:v>Spring 2019</c:v>
                </c:pt>
                <c:pt idx="8">
                  <c:v>Autumn 2019</c:v>
                </c:pt>
                <c:pt idx="9">
                  <c:v>Spring 2020</c:v>
                </c:pt>
                <c:pt idx="10">
                  <c:v>Autumn 2020</c:v>
                </c:pt>
                <c:pt idx="11">
                  <c:v>Spring 2021</c:v>
                </c:pt>
                <c:pt idx="12">
                  <c:v>Autumn 2021</c:v>
                </c:pt>
                <c:pt idx="13">
                  <c:v>Spring 2022</c:v>
                </c:pt>
                <c:pt idx="14">
                  <c:v>Autumn 2022</c:v>
                </c:pt>
                <c:pt idx="15">
                  <c:v>Spring 2023</c:v>
                </c:pt>
                <c:pt idx="16">
                  <c:v>Autumn 2023</c:v>
                </c:pt>
              </c:strCache>
            </c:strRef>
          </c:cat>
          <c:val>
            <c:numRef>
              <c:f>Tabelle1!$F$17:$V$17</c:f>
              <c:numCache>
                <c:formatCode>0%</c:formatCode>
                <c:ptCount val="17"/>
                <c:pt idx="0">
                  <c:v>0.48</c:v>
                </c:pt>
                <c:pt idx="1">
                  <c:v>0.49</c:v>
                </c:pt>
                <c:pt idx="2">
                  <c:v>0.45</c:v>
                </c:pt>
                <c:pt idx="3">
                  <c:v>0.43</c:v>
                </c:pt>
                <c:pt idx="4">
                  <c:v>0.43</c:v>
                </c:pt>
                <c:pt idx="5">
                  <c:v>0.39</c:v>
                </c:pt>
                <c:pt idx="6">
                  <c:v>0.39</c:v>
                </c:pt>
                <c:pt idx="7">
                  <c:v>0.34</c:v>
                </c:pt>
                <c:pt idx="8">
                  <c:v>0.34</c:v>
                </c:pt>
                <c:pt idx="9">
                  <c:v>0.28999999999999998</c:v>
                </c:pt>
                <c:pt idx="10">
                  <c:v>0.3</c:v>
                </c:pt>
                <c:pt idx="11">
                  <c:v>0.34</c:v>
                </c:pt>
                <c:pt idx="12">
                  <c:v>0.31</c:v>
                </c:pt>
                <c:pt idx="13">
                  <c:v>0.28000000000000003</c:v>
                </c:pt>
                <c:pt idx="14">
                  <c:v>0.25</c:v>
                </c:pt>
                <c:pt idx="15">
                  <c:v>0.2</c:v>
                </c:pt>
                <c:pt idx="16">
                  <c:v>0.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6F4C-49E7-9CF1-F4C857C9AD9D}"/>
            </c:ext>
          </c:extLst>
        </c:ser>
        <c:ser>
          <c:idx val="1"/>
          <c:order val="1"/>
          <c:spPr>
            <a:solidFill>
              <a:srgbClr val="DA1838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700" b="0" i="0" u="none" strike="noStrike" kern="1200" baseline="0">
                    <a:solidFill>
                      <a:schemeClr val="bg1"/>
                    </a:solidFill>
                    <a:latin typeface="+mj-lt"/>
                    <a:ea typeface="Cambria" panose="02040503050406030204" pitchFamily="18" charset="0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F$16:$V$16</c:f>
              <c:strCache>
                <c:ptCount val="17"/>
                <c:pt idx="0">
                  <c:v>Autumn 2015</c:v>
                </c:pt>
                <c:pt idx="1">
                  <c:v>Spring 2016</c:v>
                </c:pt>
                <c:pt idx="2">
                  <c:v>Autumn 2016</c:v>
                </c:pt>
                <c:pt idx="3">
                  <c:v>Spring 2017</c:v>
                </c:pt>
                <c:pt idx="4">
                  <c:v>Autumn 2017</c:v>
                </c:pt>
                <c:pt idx="5">
                  <c:v>Spring 2018</c:v>
                </c:pt>
                <c:pt idx="6">
                  <c:v>Autumnt 2018</c:v>
                </c:pt>
                <c:pt idx="7">
                  <c:v>Spring 2019</c:v>
                </c:pt>
                <c:pt idx="8">
                  <c:v>Autumn 2019</c:v>
                </c:pt>
                <c:pt idx="9">
                  <c:v>Spring 2020</c:v>
                </c:pt>
                <c:pt idx="10">
                  <c:v>Autumn 2020</c:v>
                </c:pt>
                <c:pt idx="11">
                  <c:v>Spring 2021</c:v>
                </c:pt>
                <c:pt idx="12">
                  <c:v>Autumn 2021</c:v>
                </c:pt>
                <c:pt idx="13">
                  <c:v>Spring 2022</c:v>
                </c:pt>
                <c:pt idx="14">
                  <c:v>Autumn 2022</c:v>
                </c:pt>
                <c:pt idx="15">
                  <c:v>Spring 2023</c:v>
                </c:pt>
                <c:pt idx="16">
                  <c:v>Autumn 2023</c:v>
                </c:pt>
              </c:strCache>
            </c:strRef>
          </c:cat>
          <c:val>
            <c:numRef>
              <c:f>Tabelle1!$F$18:$V$18</c:f>
              <c:numCache>
                <c:formatCode>0%</c:formatCode>
                <c:ptCount val="17"/>
                <c:pt idx="0">
                  <c:v>0.19</c:v>
                </c:pt>
                <c:pt idx="1">
                  <c:v>0.23</c:v>
                </c:pt>
                <c:pt idx="2">
                  <c:v>0.25</c:v>
                </c:pt>
                <c:pt idx="3">
                  <c:v>0.28999999999999998</c:v>
                </c:pt>
                <c:pt idx="4">
                  <c:v>0.26</c:v>
                </c:pt>
                <c:pt idx="5">
                  <c:v>0.3</c:v>
                </c:pt>
                <c:pt idx="6">
                  <c:v>0.25</c:v>
                </c:pt>
                <c:pt idx="7">
                  <c:v>0.28999999999999998</c:v>
                </c:pt>
                <c:pt idx="8">
                  <c:v>0.28999999999999998</c:v>
                </c:pt>
                <c:pt idx="9">
                  <c:v>0.36</c:v>
                </c:pt>
                <c:pt idx="10">
                  <c:v>0.39</c:v>
                </c:pt>
                <c:pt idx="11">
                  <c:v>0.32</c:v>
                </c:pt>
                <c:pt idx="12">
                  <c:v>0.32</c:v>
                </c:pt>
                <c:pt idx="13">
                  <c:v>0.37</c:v>
                </c:pt>
                <c:pt idx="14">
                  <c:v>0.35</c:v>
                </c:pt>
                <c:pt idx="15">
                  <c:v>0.39</c:v>
                </c:pt>
                <c:pt idx="16">
                  <c:v>0.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6F4C-49E7-9CF1-F4C857C9AD9D}"/>
            </c:ext>
          </c:extLst>
        </c:ser>
        <c:ser>
          <c:idx val="2"/>
          <c:order val="2"/>
          <c:spPr>
            <a:solidFill>
              <a:sysClr val="windowText" lastClr="000000"/>
            </a:solidFill>
          </c:spPr>
          <c:invertIfNegative val="0"/>
          <c:dLbls>
            <c:dLbl>
              <c:idx val="1"/>
              <c:tx>
                <c:rich>
                  <a:bodyPr/>
                  <a:lstStyle/>
                  <a:p>
                    <a:fld id="{C1BB3BA3-30DB-4540-BE81-EE8CABDE24F2}" type="VALUE">
                      <a:rPr lang="en-US" sz="1000" b="0" i="0" u="none" strike="noStrike" kern="1200" baseline="0">
                        <a:solidFill>
                          <a:schemeClr val="bg1"/>
                        </a:solidFill>
                        <a:latin typeface="+mj-lt"/>
                        <a:ea typeface="Cambria" panose="02040503050406030204" pitchFamily="18" charset="0"/>
                        <a:cs typeface="+mn-cs"/>
                      </a:rPr>
                      <a:pPr/>
                      <a:t>[WERT]</a:t>
                    </a:fld>
                    <a:endParaRPr lang="de-CH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74ED-4FDC-94A1-3C0A9F47393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700" b="0" i="0" u="none" strike="noStrike" kern="1200" baseline="0">
                    <a:solidFill>
                      <a:schemeClr val="bg1"/>
                    </a:solidFill>
                    <a:latin typeface="+mj-lt"/>
                    <a:ea typeface="Cambria" panose="02040503050406030204" pitchFamily="18" charset="0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F$16:$V$16</c:f>
              <c:strCache>
                <c:ptCount val="17"/>
                <c:pt idx="0">
                  <c:v>Autumn 2015</c:v>
                </c:pt>
                <c:pt idx="1">
                  <c:v>Spring 2016</c:v>
                </c:pt>
                <c:pt idx="2">
                  <c:v>Autumn 2016</c:v>
                </c:pt>
                <c:pt idx="3">
                  <c:v>Spring 2017</c:v>
                </c:pt>
                <c:pt idx="4">
                  <c:v>Autumn 2017</c:v>
                </c:pt>
                <c:pt idx="5">
                  <c:v>Spring 2018</c:v>
                </c:pt>
                <c:pt idx="6">
                  <c:v>Autumnt 2018</c:v>
                </c:pt>
                <c:pt idx="7">
                  <c:v>Spring 2019</c:v>
                </c:pt>
                <c:pt idx="8">
                  <c:v>Autumn 2019</c:v>
                </c:pt>
                <c:pt idx="9">
                  <c:v>Spring 2020</c:v>
                </c:pt>
                <c:pt idx="10">
                  <c:v>Autumn 2020</c:v>
                </c:pt>
                <c:pt idx="11">
                  <c:v>Spring 2021</c:v>
                </c:pt>
                <c:pt idx="12">
                  <c:v>Autumn 2021</c:v>
                </c:pt>
                <c:pt idx="13">
                  <c:v>Spring 2022</c:v>
                </c:pt>
                <c:pt idx="14">
                  <c:v>Autumn 2022</c:v>
                </c:pt>
                <c:pt idx="15">
                  <c:v>Spring 2023</c:v>
                </c:pt>
                <c:pt idx="16">
                  <c:v>Autumn 2023</c:v>
                </c:pt>
              </c:strCache>
            </c:strRef>
          </c:cat>
          <c:val>
            <c:numRef>
              <c:f>Tabelle1!$F$19:$V$19</c:f>
              <c:numCache>
                <c:formatCode>0%</c:formatCode>
                <c:ptCount val="17"/>
                <c:pt idx="0">
                  <c:v>0.33</c:v>
                </c:pt>
                <c:pt idx="1">
                  <c:v>0.28000000000000003</c:v>
                </c:pt>
                <c:pt idx="2">
                  <c:v>0.3</c:v>
                </c:pt>
                <c:pt idx="3">
                  <c:v>0.28000000000000003</c:v>
                </c:pt>
                <c:pt idx="4">
                  <c:v>0.31</c:v>
                </c:pt>
                <c:pt idx="5">
                  <c:v>0.31</c:v>
                </c:pt>
                <c:pt idx="6">
                  <c:v>0.36</c:v>
                </c:pt>
                <c:pt idx="7">
                  <c:v>0.37</c:v>
                </c:pt>
                <c:pt idx="8">
                  <c:v>0.37</c:v>
                </c:pt>
                <c:pt idx="9">
                  <c:v>0.35</c:v>
                </c:pt>
                <c:pt idx="10">
                  <c:v>0.31</c:v>
                </c:pt>
                <c:pt idx="11">
                  <c:v>0.34</c:v>
                </c:pt>
                <c:pt idx="12">
                  <c:v>0.37</c:v>
                </c:pt>
                <c:pt idx="13">
                  <c:v>0.35</c:v>
                </c:pt>
                <c:pt idx="14">
                  <c:v>0.4</c:v>
                </c:pt>
                <c:pt idx="15">
                  <c:v>0.41</c:v>
                </c:pt>
                <c:pt idx="16">
                  <c:v>0.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6F4C-49E7-9CF1-F4C857C9AD9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30"/>
        <c:overlap val="100"/>
        <c:axId val="261458944"/>
        <c:axId val="261464832"/>
      </c:barChart>
      <c:catAx>
        <c:axId val="2614589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/>
        </c:spPr>
        <c:txPr>
          <a:bodyPr rot="-5400000" vert="horz"/>
          <a:lstStyle/>
          <a:p>
            <a:pPr algn="ctr">
              <a:defRPr lang="en-US" sz="10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pPr>
            <a:endParaRPr lang="de-DE"/>
          </a:p>
        </c:txPr>
        <c:crossAx val="261464832"/>
        <c:crosses val="autoZero"/>
        <c:auto val="1"/>
        <c:lblAlgn val="ctr"/>
        <c:lblOffset val="50"/>
        <c:noMultiLvlLbl val="0"/>
      </c:catAx>
      <c:valAx>
        <c:axId val="261464832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0%" sourceLinked="1"/>
        <c:majorTickMark val="out"/>
        <c:minorTickMark val="none"/>
        <c:tickLblPos val="nextTo"/>
        <c:crossAx val="26145894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>
          <a:latin typeface="ATC Overlook Heavy" pitchFamily="50" charset="0"/>
        </a:defRPr>
      </a:pPr>
      <a:endParaRPr lang="de-DE"/>
    </a:p>
  </c:txPr>
  <c:externalData r:id="rId2">
    <c:autoUpdate val="0"/>
  </c:externalData>
  <c:userShapes r:id="rId3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4609866337100946E-2"/>
          <c:y val="0.1136045349229788"/>
          <c:w val="0.93539013366289903"/>
          <c:h val="0.51896284442772789"/>
        </c:manualLayout>
      </c:layout>
      <c:barChart>
        <c:barDir val="col"/>
        <c:grouping val="percentStacked"/>
        <c:varyColors val="0"/>
        <c:ser>
          <c:idx val="0"/>
          <c:order val="0"/>
          <c:spPr>
            <a:solidFill>
              <a:sysClr val="window" lastClr="FFFFFF">
                <a:lumMod val="50000"/>
              </a:sysClr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33B-4E9E-B084-3C5569BAE946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33B-4E9E-B084-3C5569BAE946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33B-4E9E-B084-3C5569BAE946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33B-4E9E-B084-3C5569BAE946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333B-4E9E-B084-3C5569BAE946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333B-4E9E-B084-3C5569BAE946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D-E3FF-4527-A5C1-B3F424E91F53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E-E3FF-4527-A5C1-B3F424E91F53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F-E3FF-4527-A5C1-B3F424E91F53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30-E3FF-4527-A5C1-B3F424E91F53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0DA6-49D3-9668-773F8C0C1F45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0DA6-49D3-9668-773F8C0C1F45}"/>
              </c:ext>
            </c:extLst>
          </c:dPt>
          <c:dPt>
            <c:idx val="1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0DA6-49D3-9668-773F8C0C1F45}"/>
              </c:ext>
            </c:extLst>
          </c:dPt>
          <c:dPt>
            <c:idx val="1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0DA6-49D3-9668-773F8C0C1F45}"/>
              </c:ext>
            </c:extLst>
          </c:dPt>
          <c:dPt>
            <c:idx val="1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F-0DA6-49D3-9668-773F8C0C1F45}"/>
              </c:ext>
            </c:extLst>
          </c:dPt>
          <c:dLbls>
            <c:dLbl>
              <c:idx val="5"/>
              <c:tx>
                <c:rich>
                  <a:bodyPr/>
                  <a:lstStyle/>
                  <a:p>
                    <a:fld id="{A9F8E654-39B4-4A4A-BDAE-45F5EDDE98B4}" type="VALUE">
                      <a:rPr lang="en-US" smtClean="0">
                        <a:solidFill>
                          <a:schemeClr val="bg1"/>
                        </a:solidFill>
                      </a:rPr>
                      <a:pPr/>
                      <a:t>[WERT]</a:t>
                    </a:fld>
                    <a:endParaRPr lang="de-CH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333B-4E9E-B084-3C5569BAE94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 rtl="0">
                  <a:defRPr lang="en-US" sz="700" b="0" i="0" u="none" strike="noStrike" kern="1200" baseline="0">
                    <a:solidFill>
                      <a:schemeClr val="bg1"/>
                    </a:solidFill>
                    <a:latin typeface="+mj-lt"/>
                    <a:ea typeface="Cambria" panose="02040503050406030204" pitchFamily="18" charset="0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J$16:$Z$16</c:f>
              <c:strCache>
                <c:ptCount val="17"/>
                <c:pt idx="0">
                  <c:v>Autumn 2015</c:v>
                </c:pt>
                <c:pt idx="1">
                  <c:v>Spring 2016</c:v>
                </c:pt>
                <c:pt idx="2">
                  <c:v>Autumn 2016</c:v>
                </c:pt>
                <c:pt idx="3">
                  <c:v>Spring 2017</c:v>
                </c:pt>
                <c:pt idx="4">
                  <c:v>Autumn 2017</c:v>
                </c:pt>
                <c:pt idx="5">
                  <c:v>Spring 2018</c:v>
                </c:pt>
                <c:pt idx="6">
                  <c:v>Autumn 2018</c:v>
                </c:pt>
                <c:pt idx="7">
                  <c:v>Spring 2019</c:v>
                </c:pt>
                <c:pt idx="8">
                  <c:v>Autumn 2019</c:v>
                </c:pt>
                <c:pt idx="9">
                  <c:v>Spring 2020</c:v>
                </c:pt>
                <c:pt idx="10">
                  <c:v>Autumn 2020</c:v>
                </c:pt>
                <c:pt idx="11">
                  <c:v>Spring 2021</c:v>
                </c:pt>
                <c:pt idx="12">
                  <c:v>Autumn 2021</c:v>
                </c:pt>
                <c:pt idx="13">
                  <c:v>Spring 2022</c:v>
                </c:pt>
                <c:pt idx="14">
                  <c:v>Autumn 2022</c:v>
                </c:pt>
                <c:pt idx="15">
                  <c:v>Spring 2023</c:v>
                </c:pt>
                <c:pt idx="16">
                  <c:v>Autumn 2023</c:v>
                </c:pt>
              </c:strCache>
            </c:strRef>
          </c:cat>
          <c:val>
            <c:numRef>
              <c:f>Tabelle1!$J$17:$Z$17</c:f>
              <c:numCache>
                <c:formatCode>0%</c:formatCode>
                <c:ptCount val="17"/>
                <c:pt idx="0">
                  <c:v>0.52</c:v>
                </c:pt>
                <c:pt idx="1">
                  <c:v>0.52</c:v>
                </c:pt>
                <c:pt idx="2">
                  <c:v>0.52</c:v>
                </c:pt>
                <c:pt idx="3">
                  <c:v>0.5</c:v>
                </c:pt>
                <c:pt idx="4">
                  <c:v>0.51</c:v>
                </c:pt>
                <c:pt idx="5">
                  <c:v>0.41</c:v>
                </c:pt>
                <c:pt idx="6">
                  <c:v>0.39</c:v>
                </c:pt>
                <c:pt idx="7">
                  <c:v>0.39</c:v>
                </c:pt>
                <c:pt idx="8">
                  <c:v>0.38</c:v>
                </c:pt>
                <c:pt idx="9">
                  <c:v>0.28000000000000003</c:v>
                </c:pt>
                <c:pt idx="10">
                  <c:v>0.28000000000000003</c:v>
                </c:pt>
                <c:pt idx="11">
                  <c:v>0.36</c:v>
                </c:pt>
                <c:pt idx="12">
                  <c:v>0.32</c:v>
                </c:pt>
                <c:pt idx="13">
                  <c:v>0.25</c:v>
                </c:pt>
                <c:pt idx="14">
                  <c:v>0.28999999999999998</c:v>
                </c:pt>
                <c:pt idx="15">
                  <c:v>0.25</c:v>
                </c:pt>
                <c:pt idx="16">
                  <c:v>0.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333B-4E9E-B084-3C5569BAE946}"/>
            </c:ext>
          </c:extLst>
        </c:ser>
        <c:ser>
          <c:idx val="1"/>
          <c:order val="1"/>
          <c:spPr>
            <a:solidFill>
              <a:srgbClr val="DA1838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 rtl="0">
                  <a:defRPr lang="en-US" sz="700" b="0" i="0" u="none" strike="noStrike" kern="1200" baseline="0">
                    <a:solidFill>
                      <a:schemeClr val="bg1"/>
                    </a:solidFill>
                    <a:latin typeface="+mj-lt"/>
                    <a:ea typeface="Cambria" panose="02040503050406030204" pitchFamily="18" charset="0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J$16:$Z$16</c:f>
              <c:strCache>
                <c:ptCount val="17"/>
                <c:pt idx="0">
                  <c:v>Autumn 2015</c:v>
                </c:pt>
                <c:pt idx="1">
                  <c:v>Spring 2016</c:v>
                </c:pt>
                <c:pt idx="2">
                  <c:v>Autumn 2016</c:v>
                </c:pt>
                <c:pt idx="3">
                  <c:v>Spring 2017</c:v>
                </c:pt>
                <c:pt idx="4">
                  <c:v>Autumn 2017</c:v>
                </c:pt>
                <c:pt idx="5">
                  <c:v>Spring 2018</c:v>
                </c:pt>
                <c:pt idx="6">
                  <c:v>Autumn 2018</c:v>
                </c:pt>
                <c:pt idx="7">
                  <c:v>Spring 2019</c:v>
                </c:pt>
                <c:pt idx="8">
                  <c:v>Autumn 2019</c:v>
                </c:pt>
                <c:pt idx="9">
                  <c:v>Spring 2020</c:v>
                </c:pt>
                <c:pt idx="10">
                  <c:v>Autumn 2020</c:v>
                </c:pt>
                <c:pt idx="11">
                  <c:v>Spring 2021</c:v>
                </c:pt>
                <c:pt idx="12">
                  <c:v>Autumn 2021</c:v>
                </c:pt>
                <c:pt idx="13">
                  <c:v>Spring 2022</c:v>
                </c:pt>
                <c:pt idx="14">
                  <c:v>Autumn 2022</c:v>
                </c:pt>
                <c:pt idx="15">
                  <c:v>Spring 2023</c:v>
                </c:pt>
                <c:pt idx="16">
                  <c:v>Autumn 2023</c:v>
                </c:pt>
              </c:strCache>
            </c:strRef>
          </c:cat>
          <c:val>
            <c:numRef>
              <c:f>Tabelle1!$J$18:$Z$18</c:f>
              <c:numCache>
                <c:formatCode>0%</c:formatCode>
                <c:ptCount val="17"/>
                <c:pt idx="0">
                  <c:v>0.18</c:v>
                </c:pt>
                <c:pt idx="1">
                  <c:v>0.2</c:v>
                </c:pt>
                <c:pt idx="2">
                  <c:v>0.2</c:v>
                </c:pt>
                <c:pt idx="3">
                  <c:v>0.22</c:v>
                </c:pt>
                <c:pt idx="4">
                  <c:v>0.22</c:v>
                </c:pt>
                <c:pt idx="5">
                  <c:v>0.28999999999999998</c:v>
                </c:pt>
                <c:pt idx="6">
                  <c:v>0.27</c:v>
                </c:pt>
                <c:pt idx="7">
                  <c:v>0.31</c:v>
                </c:pt>
                <c:pt idx="8">
                  <c:v>0.28000000000000003</c:v>
                </c:pt>
                <c:pt idx="9">
                  <c:v>0.33</c:v>
                </c:pt>
                <c:pt idx="10">
                  <c:v>0.38</c:v>
                </c:pt>
                <c:pt idx="11">
                  <c:v>0.31</c:v>
                </c:pt>
                <c:pt idx="12">
                  <c:v>0.32</c:v>
                </c:pt>
                <c:pt idx="13">
                  <c:v>0.37</c:v>
                </c:pt>
                <c:pt idx="14">
                  <c:v>0.36</c:v>
                </c:pt>
                <c:pt idx="15">
                  <c:v>0.34</c:v>
                </c:pt>
                <c:pt idx="16">
                  <c:v>0.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0DA6-49D3-9668-773F8C0C1F45}"/>
            </c:ext>
          </c:extLst>
        </c:ser>
        <c:ser>
          <c:idx val="2"/>
          <c:order val="2"/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 rtl="0">
                  <a:defRPr lang="en-US" sz="700" b="0" i="0" u="none" strike="noStrike" kern="1200" baseline="0">
                    <a:solidFill>
                      <a:schemeClr val="bg1"/>
                    </a:solidFill>
                    <a:latin typeface="+mj-lt"/>
                    <a:ea typeface="Cambria" panose="02040503050406030204" pitchFamily="18" charset="0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J$16:$Z$16</c:f>
              <c:strCache>
                <c:ptCount val="17"/>
                <c:pt idx="0">
                  <c:v>Autumn 2015</c:v>
                </c:pt>
                <c:pt idx="1">
                  <c:v>Spring 2016</c:v>
                </c:pt>
                <c:pt idx="2">
                  <c:v>Autumn 2016</c:v>
                </c:pt>
                <c:pt idx="3">
                  <c:v>Spring 2017</c:v>
                </c:pt>
                <c:pt idx="4">
                  <c:v>Autumn 2017</c:v>
                </c:pt>
                <c:pt idx="5">
                  <c:v>Spring 2018</c:v>
                </c:pt>
                <c:pt idx="6">
                  <c:v>Autumn 2018</c:v>
                </c:pt>
                <c:pt idx="7">
                  <c:v>Spring 2019</c:v>
                </c:pt>
                <c:pt idx="8">
                  <c:v>Autumn 2019</c:v>
                </c:pt>
                <c:pt idx="9">
                  <c:v>Spring 2020</c:v>
                </c:pt>
                <c:pt idx="10">
                  <c:v>Autumn 2020</c:v>
                </c:pt>
                <c:pt idx="11">
                  <c:v>Spring 2021</c:v>
                </c:pt>
                <c:pt idx="12">
                  <c:v>Autumn 2021</c:v>
                </c:pt>
                <c:pt idx="13">
                  <c:v>Spring 2022</c:v>
                </c:pt>
                <c:pt idx="14">
                  <c:v>Autumn 2022</c:v>
                </c:pt>
                <c:pt idx="15">
                  <c:v>Spring 2023</c:v>
                </c:pt>
                <c:pt idx="16">
                  <c:v>Autumn 2023</c:v>
                </c:pt>
              </c:strCache>
            </c:strRef>
          </c:cat>
          <c:val>
            <c:numRef>
              <c:f>Tabelle1!$J$19:$Z$19</c:f>
              <c:numCache>
                <c:formatCode>0%</c:formatCode>
                <c:ptCount val="17"/>
                <c:pt idx="0">
                  <c:v>0.3</c:v>
                </c:pt>
                <c:pt idx="1">
                  <c:v>0.28000000000000003</c:v>
                </c:pt>
                <c:pt idx="2">
                  <c:v>0.28000000000000003</c:v>
                </c:pt>
                <c:pt idx="3">
                  <c:v>0.28000000000000003</c:v>
                </c:pt>
                <c:pt idx="4">
                  <c:v>0.27</c:v>
                </c:pt>
                <c:pt idx="5">
                  <c:v>0.3</c:v>
                </c:pt>
                <c:pt idx="6">
                  <c:v>0.34</c:v>
                </c:pt>
                <c:pt idx="7">
                  <c:v>0.3</c:v>
                </c:pt>
                <c:pt idx="8">
                  <c:v>0.34</c:v>
                </c:pt>
                <c:pt idx="9">
                  <c:v>0.39</c:v>
                </c:pt>
                <c:pt idx="10">
                  <c:v>0.34</c:v>
                </c:pt>
                <c:pt idx="11">
                  <c:v>0.33</c:v>
                </c:pt>
                <c:pt idx="12">
                  <c:v>0.36</c:v>
                </c:pt>
                <c:pt idx="13">
                  <c:v>0.38</c:v>
                </c:pt>
                <c:pt idx="14">
                  <c:v>0.35</c:v>
                </c:pt>
                <c:pt idx="15">
                  <c:v>0.41</c:v>
                </c:pt>
                <c:pt idx="16">
                  <c:v>0.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0DA6-49D3-9668-773F8C0C1F45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30"/>
        <c:overlap val="100"/>
        <c:axId val="257884544"/>
        <c:axId val="257886080"/>
      </c:barChart>
      <c:catAx>
        <c:axId val="2578845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/>
        </c:spPr>
        <c:txPr>
          <a:bodyPr rot="-5400000" vert="horz"/>
          <a:lstStyle/>
          <a:p>
            <a:pPr>
              <a:defRPr lang="en-US" sz="100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pPr>
            <a:endParaRPr lang="de-DE"/>
          </a:p>
        </c:txPr>
        <c:crossAx val="257886080"/>
        <c:crosses val="autoZero"/>
        <c:auto val="1"/>
        <c:lblAlgn val="ctr"/>
        <c:lblOffset val="50"/>
        <c:noMultiLvlLbl val="0"/>
      </c:catAx>
      <c:valAx>
        <c:axId val="257886080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0%" sourceLinked="1"/>
        <c:majorTickMark val="out"/>
        <c:minorTickMark val="none"/>
        <c:tickLblPos val="nextTo"/>
        <c:crossAx val="25788454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>
          <a:latin typeface="ATC Overlook Heavy" pitchFamily="50" charset="0"/>
        </a:defRPr>
      </a:pPr>
      <a:endParaRPr lang="de-DE"/>
    </a:p>
  </c:txPr>
  <c:externalData r:id="rId2">
    <c:autoUpdate val="0"/>
  </c:externalData>
  <c:userShapes r:id="rId3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4609866337100946E-2"/>
          <c:y val="0.1136045349229788"/>
          <c:w val="0.93539013366289903"/>
          <c:h val="0.51896284442772789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Tabelle1!$A$17</c:f>
              <c:strCache>
                <c:ptCount val="1"/>
                <c:pt idx="0">
                  <c:v>Analog UKW</c:v>
                </c:pt>
              </c:strCache>
            </c:strRef>
          </c:tx>
          <c:spPr>
            <a:solidFill>
              <a:sysClr val="window" lastClr="FFFFFF">
                <a:lumMod val="50000"/>
              </a:sysClr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33B-4E9E-B084-3C5569BAE946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33B-4E9E-B084-3C5569BAE946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33B-4E9E-B084-3C5569BAE946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333B-4E9E-B084-3C5569BAE946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D-E3FF-4527-A5C1-B3F424E91F53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E-E3FF-4527-A5C1-B3F424E91F53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F-E3FF-4527-A5C1-B3F424E91F53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30-E3FF-4527-A5C1-B3F424E91F53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C949-4741-A9A1-06F5A474541B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C949-4741-A9A1-06F5A474541B}"/>
              </c:ext>
            </c:extLst>
          </c:dPt>
          <c:dPt>
            <c:idx val="1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C949-4741-A9A1-06F5A474541B}"/>
              </c:ext>
            </c:extLst>
          </c:dPt>
          <c:dPt>
            <c:idx val="1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C949-4741-A9A1-06F5A474541B}"/>
              </c:ext>
            </c:extLst>
          </c:dPt>
          <c:dPt>
            <c:idx val="1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F-C949-4741-A9A1-06F5A474541B}"/>
              </c:ext>
            </c:extLst>
          </c:dPt>
          <c:dLbls>
            <c:dLbl>
              <c:idx val="1"/>
              <c:tx>
                <c:rich>
                  <a:bodyPr/>
                  <a:lstStyle/>
                  <a:p>
                    <a:fld id="{87BD6E98-598F-4102-9C15-8075033FEBC1}" type="VALUE">
                      <a:rPr lang="en-US" sz="800" b="0" i="0" u="none" strike="noStrike" kern="1200" baseline="0">
                        <a:solidFill>
                          <a:schemeClr val="bg1"/>
                        </a:solidFill>
                        <a:latin typeface="Cambria" panose="02040503050406030204" pitchFamily="18" charset="0"/>
                        <a:ea typeface="Cambria" panose="02040503050406030204" pitchFamily="18" charset="0"/>
                        <a:cs typeface="+mn-cs"/>
                      </a:rPr>
                      <a:pPr/>
                      <a:t>[WERT]</a:t>
                    </a:fld>
                    <a:endParaRPr lang="de-CH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D-F09B-4453-8665-28F6D2A9A3F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700" b="0" i="0" u="none" strike="noStrike" kern="1200" baseline="0">
                    <a:solidFill>
                      <a:schemeClr val="bg1"/>
                    </a:solidFill>
                    <a:latin typeface="+mj-lt"/>
                    <a:ea typeface="Cambria" panose="02040503050406030204" pitchFamily="18" charset="0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B$16:$R$16</c:f>
              <c:strCache>
                <c:ptCount val="17"/>
                <c:pt idx="0">
                  <c:v>Autumn 2015</c:v>
                </c:pt>
                <c:pt idx="1">
                  <c:v>Spring 2016</c:v>
                </c:pt>
                <c:pt idx="2">
                  <c:v>Autumn 2016</c:v>
                </c:pt>
                <c:pt idx="3">
                  <c:v>Spring 2017</c:v>
                </c:pt>
                <c:pt idx="4">
                  <c:v>Autumn 2017</c:v>
                </c:pt>
                <c:pt idx="5">
                  <c:v>Spring 2018</c:v>
                </c:pt>
                <c:pt idx="6">
                  <c:v>Autumn 2018</c:v>
                </c:pt>
                <c:pt idx="7">
                  <c:v>Spring 2019</c:v>
                </c:pt>
                <c:pt idx="8">
                  <c:v>Autumn 2019</c:v>
                </c:pt>
                <c:pt idx="9">
                  <c:v>Spring 2020</c:v>
                </c:pt>
                <c:pt idx="10">
                  <c:v>Autumn 2020</c:v>
                </c:pt>
                <c:pt idx="11">
                  <c:v>Spring 2021</c:v>
                </c:pt>
                <c:pt idx="12">
                  <c:v>Autumn 2021</c:v>
                </c:pt>
                <c:pt idx="13">
                  <c:v>Spring 2022</c:v>
                </c:pt>
                <c:pt idx="14">
                  <c:v>Autumn 2022</c:v>
                </c:pt>
                <c:pt idx="15">
                  <c:v>Spring 2023</c:v>
                </c:pt>
                <c:pt idx="16">
                  <c:v>Autumn 2023</c:v>
                </c:pt>
              </c:strCache>
            </c:strRef>
          </c:cat>
          <c:val>
            <c:numRef>
              <c:f>Tabelle1!$B$17:$R$17</c:f>
              <c:numCache>
                <c:formatCode>0%</c:formatCode>
                <c:ptCount val="17"/>
                <c:pt idx="0">
                  <c:v>0.52</c:v>
                </c:pt>
                <c:pt idx="1">
                  <c:v>0.46</c:v>
                </c:pt>
                <c:pt idx="2">
                  <c:v>0.45</c:v>
                </c:pt>
                <c:pt idx="3">
                  <c:v>0.43</c:v>
                </c:pt>
                <c:pt idx="4">
                  <c:v>0.38</c:v>
                </c:pt>
                <c:pt idx="5">
                  <c:v>0.36</c:v>
                </c:pt>
                <c:pt idx="6">
                  <c:v>0.36</c:v>
                </c:pt>
                <c:pt idx="7">
                  <c:v>0.35</c:v>
                </c:pt>
                <c:pt idx="8">
                  <c:v>0.31</c:v>
                </c:pt>
                <c:pt idx="9">
                  <c:v>0.28000000000000003</c:v>
                </c:pt>
                <c:pt idx="10">
                  <c:v>0.27</c:v>
                </c:pt>
                <c:pt idx="11">
                  <c:v>0.28000000000000003</c:v>
                </c:pt>
                <c:pt idx="12">
                  <c:v>0.23</c:v>
                </c:pt>
                <c:pt idx="13">
                  <c:v>0.24</c:v>
                </c:pt>
                <c:pt idx="14">
                  <c:v>0.22</c:v>
                </c:pt>
                <c:pt idx="15">
                  <c:v>0.18</c:v>
                </c:pt>
                <c:pt idx="16">
                  <c:v>0.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333B-4E9E-B084-3C5569BAE946}"/>
            </c:ext>
          </c:extLst>
        </c:ser>
        <c:ser>
          <c:idx val="1"/>
          <c:order val="1"/>
          <c:tx>
            <c:strRef>
              <c:f>Tabelle1!$A$18</c:f>
              <c:strCache>
                <c:ptCount val="1"/>
                <c:pt idx="0">
                  <c:v>DAB+</c:v>
                </c:pt>
              </c:strCache>
            </c:strRef>
          </c:tx>
          <c:spPr>
            <a:solidFill>
              <a:srgbClr val="DA1838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700" b="0" i="0" u="none" strike="noStrike" kern="1200" baseline="0">
                    <a:solidFill>
                      <a:schemeClr val="bg1"/>
                    </a:solidFill>
                    <a:latin typeface="+mj-lt"/>
                    <a:ea typeface="Cambria" panose="02040503050406030204" pitchFamily="18" charset="0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B$16:$R$16</c:f>
              <c:strCache>
                <c:ptCount val="17"/>
                <c:pt idx="0">
                  <c:v>Autumn 2015</c:v>
                </c:pt>
                <c:pt idx="1">
                  <c:v>Spring 2016</c:v>
                </c:pt>
                <c:pt idx="2">
                  <c:v>Autumn 2016</c:v>
                </c:pt>
                <c:pt idx="3">
                  <c:v>Spring 2017</c:v>
                </c:pt>
                <c:pt idx="4">
                  <c:v>Autumn 2017</c:v>
                </c:pt>
                <c:pt idx="5">
                  <c:v>Spring 2018</c:v>
                </c:pt>
                <c:pt idx="6">
                  <c:v>Autumn 2018</c:v>
                </c:pt>
                <c:pt idx="7">
                  <c:v>Spring 2019</c:v>
                </c:pt>
                <c:pt idx="8">
                  <c:v>Autumn 2019</c:v>
                </c:pt>
                <c:pt idx="9">
                  <c:v>Spring 2020</c:v>
                </c:pt>
                <c:pt idx="10">
                  <c:v>Autumn 2020</c:v>
                </c:pt>
                <c:pt idx="11">
                  <c:v>Spring 2021</c:v>
                </c:pt>
                <c:pt idx="12">
                  <c:v>Autumn 2021</c:v>
                </c:pt>
                <c:pt idx="13">
                  <c:v>Spring 2022</c:v>
                </c:pt>
                <c:pt idx="14">
                  <c:v>Autumn 2022</c:v>
                </c:pt>
                <c:pt idx="15">
                  <c:v>Spring 2023</c:v>
                </c:pt>
                <c:pt idx="16">
                  <c:v>Autumn 2023</c:v>
                </c:pt>
              </c:strCache>
            </c:strRef>
          </c:cat>
          <c:val>
            <c:numRef>
              <c:f>Tabelle1!$B$18:$R$18</c:f>
              <c:numCache>
                <c:formatCode>0%</c:formatCode>
                <c:ptCount val="17"/>
                <c:pt idx="0">
                  <c:v>0.24</c:v>
                </c:pt>
                <c:pt idx="1">
                  <c:v>0.28000000000000003</c:v>
                </c:pt>
                <c:pt idx="2">
                  <c:v>0.28000000000000003</c:v>
                </c:pt>
                <c:pt idx="3">
                  <c:v>0.33</c:v>
                </c:pt>
                <c:pt idx="4">
                  <c:v>0.36</c:v>
                </c:pt>
                <c:pt idx="5">
                  <c:v>0.35</c:v>
                </c:pt>
                <c:pt idx="6">
                  <c:v>0.35</c:v>
                </c:pt>
                <c:pt idx="7">
                  <c:v>0.37</c:v>
                </c:pt>
                <c:pt idx="8">
                  <c:v>0.39</c:v>
                </c:pt>
                <c:pt idx="9">
                  <c:v>0.41</c:v>
                </c:pt>
                <c:pt idx="10">
                  <c:v>0.42</c:v>
                </c:pt>
                <c:pt idx="11">
                  <c:v>0.37</c:v>
                </c:pt>
                <c:pt idx="12">
                  <c:v>0.4</c:v>
                </c:pt>
                <c:pt idx="13">
                  <c:v>0.42</c:v>
                </c:pt>
                <c:pt idx="14">
                  <c:v>0.43</c:v>
                </c:pt>
                <c:pt idx="15">
                  <c:v>0.42</c:v>
                </c:pt>
                <c:pt idx="16">
                  <c:v>0.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C949-4741-A9A1-06F5A474541B}"/>
            </c:ext>
          </c:extLst>
        </c:ser>
        <c:ser>
          <c:idx val="2"/>
          <c:order val="2"/>
          <c:tx>
            <c:strRef>
              <c:f>Tabelle1!$A$19</c:f>
              <c:strCache>
                <c:ptCount val="1"/>
                <c:pt idx="0">
                  <c:v>Internet</c:v>
                </c:pt>
              </c:strCache>
            </c:strRef>
          </c:tx>
          <c:spPr>
            <a:solidFill>
              <a:sysClr val="windowText" lastClr="00000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 b="0">
                    <a:solidFill>
                      <a:schemeClr val="bg1"/>
                    </a:solidFill>
                    <a:latin typeface="+mj-lt"/>
                    <a:ea typeface="Cambria" panose="02040503050406030204" pitchFamily="18" charset="0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B$16:$R$16</c:f>
              <c:strCache>
                <c:ptCount val="17"/>
                <c:pt idx="0">
                  <c:v>Autumn 2015</c:v>
                </c:pt>
                <c:pt idx="1">
                  <c:v>Spring 2016</c:v>
                </c:pt>
                <c:pt idx="2">
                  <c:v>Autumn 2016</c:v>
                </c:pt>
                <c:pt idx="3">
                  <c:v>Spring 2017</c:v>
                </c:pt>
                <c:pt idx="4">
                  <c:v>Autumn 2017</c:v>
                </c:pt>
                <c:pt idx="5">
                  <c:v>Spring 2018</c:v>
                </c:pt>
                <c:pt idx="6">
                  <c:v>Autumn 2018</c:v>
                </c:pt>
                <c:pt idx="7">
                  <c:v>Spring 2019</c:v>
                </c:pt>
                <c:pt idx="8">
                  <c:v>Autumn 2019</c:v>
                </c:pt>
                <c:pt idx="9">
                  <c:v>Spring 2020</c:v>
                </c:pt>
                <c:pt idx="10">
                  <c:v>Autumn 2020</c:v>
                </c:pt>
                <c:pt idx="11">
                  <c:v>Spring 2021</c:v>
                </c:pt>
                <c:pt idx="12">
                  <c:v>Autumn 2021</c:v>
                </c:pt>
                <c:pt idx="13">
                  <c:v>Spring 2022</c:v>
                </c:pt>
                <c:pt idx="14">
                  <c:v>Autumn 2022</c:v>
                </c:pt>
                <c:pt idx="15">
                  <c:v>Spring 2023</c:v>
                </c:pt>
                <c:pt idx="16">
                  <c:v>Autumn 2023</c:v>
                </c:pt>
              </c:strCache>
            </c:strRef>
          </c:cat>
          <c:val>
            <c:numRef>
              <c:f>Tabelle1!$B$19:$R$19</c:f>
              <c:numCache>
                <c:formatCode>0%</c:formatCode>
                <c:ptCount val="17"/>
                <c:pt idx="0">
                  <c:v>0.24</c:v>
                </c:pt>
                <c:pt idx="1">
                  <c:v>0.26</c:v>
                </c:pt>
                <c:pt idx="2">
                  <c:v>0.27</c:v>
                </c:pt>
                <c:pt idx="3">
                  <c:v>0.24</c:v>
                </c:pt>
                <c:pt idx="4">
                  <c:v>0.26</c:v>
                </c:pt>
                <c:pt idx="5">
                  <c:v>0.28999999999999998</c:v>
                </c:pt>
                <c:pt idx="6">
                  <c:v>0.28999999999999998</c:v>
                </c:pt>
                <c:pt idx="7">
                  <c:v>0.28000000000000003</c:v>
                </c:pt>
                <c:pt idx="8">
                  <c:v>0.3</c:v>
                </c:pt>
                <c:pt idx="9">
                  <c:v>0.31</c:v>
                </c:pt>
                <c:pt idx="10">
                  <c:v>0.31</c:v>
                </c:pt>
                <c:pt idx="11">
                  <c:v>0.35</c:v>
                </c:pt>
                <c:pt idx="12">
                  <c:v>0.37</c:v>
                </c:pt>
                <c:pt idx="13">
                  <c:v>0.34</c:v>
                </c:pt>
                <c:pt idx="14">
                  <c:v>0.35</c:v>
                </c:pt>
                <c:pt idx="15">
                  <c:v>0.4</c:v>
                </c:pt>
                <c:pt idx="16">
                  <c:v>0.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C949-4741-A9A1-06F5A474541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30"/>
        <c:overlap val="100"/>
        <c:axId val="281395968"/>
        <c:axId val="281397504"/>
      </c:barChart>
      <c:catAx>
        <c:axId val="2813959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-5400000" vert="horz"/>
          <a:lstStyle/>
          <a:p>
            <a:pPr algn="ctr">
              <a:defRPr lang="en-US" sz="10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pPr>
            <a:endParaRPr lang="de-DE"/>
          </a:p>
        </c:txPr>
        <c:crossAx val="281397504"/>
        <c:crosses val="autoZero"/>
        <c:auto val="1"/>
        <c:lblAlgn val="ctr"/>
        <c:lblOffset val="50"/>
        <c:noMultiLvlLbl val="0"/>
      </c:catAx>
      <c:valAx>
        <c:axId val="281397504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0%" sourceLinked="1"/>
        <c:majorTickMark val="out"/>
        <c:minorTickMark val="none"/>
        <c:tickLblPos val="nextTo"/>
        <c:crossAx val="281395968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>
          <a:latin typeface="ATC Overlook Heavy" pitchFamily="50" charset="0"/>
        </a:defRPr>
      </a:pPr>
      <a:endParaRPr lang="de-DE"/>
    </a:p>
  </c:txPr>
  <c:externalData r:id="rId2">
    <c:autoUpdate val="0"/>
  </c:externalData>
  <c:userShapes r:id="rId3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4609866337100946E-2"/>
          <c:y val="0.1136045349229788"/>
          <c:w val="0.93539013366289903"/>
          <c:h val="0.51896284442772789"/>
        </c:manualLayout>
      </c:layout>
      <c:barChart>
        <c:barDir val="col"/>
        <c:grouping val="percentStacked"/>
        <c:varyColors val="0"/>
        <c:ser>
          <c:idx val="0"/>
          <c:order val="0"/>
          <c:spPr>
            <a:solidFill>
              <a:sysClr val="window" lastClr="FFFFFF">
                <a:lumMod val="50000"/>
              </a:sysClr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33B-4E9E-B084-3C5569BAE946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33B-4E9E-B084-3C5569BAE946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33B-4E9E-B084-3C5569BAE946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33B-4E9E-B084-3C5569BAE946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333B-4E9E-B084-3C5569BAE946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333B-4E9E-B084-3C5569BAE946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D-E3FF-4527-A5C1-B3F424E91F53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E-E3FF-4527-A5C1-B3F424E91F53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F-E3FF-4527-A5C1-B3F424E91F53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30-E3FF-4527-A5C1-B3F424E91F53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83A0-4A7B-8E08-90643A9C7117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83A0-4A7B-8E08-90643A9C7117}"/>
              </c:ext>
            </c:extLst>
          </c:dPt>
          <c:dPt>
            <c:idx val="1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83A0-4A7B-8E08-90643A9C7117}"/>
              </c:ext>
            </c:extLst>
          </c:dPt>
          <c:dPt>
            <c:idx val="1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83A0-4A7B-8E08-90643A9C7117}"/>
              </c:ext>
            </c:extLst>
          </c:dPt>
          <c:dPt>
            <c:idx val="1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F-83A0-4A7B-8E08-90643A9C711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700" b="0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I$25:$Y$25</c:f>
              <c:strCache>
                <c:ptCount val="17"/>
                <c:pt idx="0">
                  <c:v>Autumn 2015</c:v>
                </c:pt>
                <c:pt idx="1">
                  <c:v>Spring 2016</c:v>
                </c:pt>
                <c:pt idx="2">
                  <c:v>Autumn 2016</c:v>
                </c:pt>
                <c:pt idx="3">
                  <c:v>Spring 2017</c:v>
                </c:pt>
                <c:pt idx="4">
                  <c:v>Autumn 2017</c:v>
                </c:pt>
                <c:pt idx="5">
                  <c:v>Spring 2018</c:v>
                </c:pt>
                <c:pt idx="6">
                  <c:v>Autumn 2018</c:v>
                </c:pt>
                <c:pt idx="7">
                  <c:v>Spring 2019</c:v>
                </c:pt>
                <c:pt idx="8">
                  <c:v>Autumn 2019</c:v>
                </c:pt>
                <c:pt idx="9">
                  <c:v>Spring 2020</c:v>
                </c:pt>
                <c:pt idx="10">
                  <c:v>Autumn 2020</c:v>
                </c:pt>
                <c:pt idx="11">
                  <c:v>Spring 2021</c:v>
                </c:pt>
                <c:pt idx="12">
                  <c:v>Autumn 2021</c:v>
                </c:pt>
                <c:pt idx="13">
                  <c:v>Spring 2022</c:v>
                </c:pt>
                <c:pt idx="14">
                  <c:v>Autumn 2022</c:v>
                </c:pt>
                <c:pt idx="15">
                  <c:v>Spring 2023</c:v>
                </c:pt>
                <c:pt idx="16">
                  <c:v>Autumn 2023</c:v>
                </c:pt>
              </c:strCache>
            </c:strRef>
          </c:cat>
          <c:val>
            <c:numRef>
              <c:f>Tabelle1!$I$26:$Y$26</c:f>
              <c:numCache>
                <c:formatCode>0%</c:formatCode>
                <c:ptCount val="17"/>
                <c:pt idx="0">
                  <c:v>0.55000000000000004</c:v>
                </c:pt>
                <c:pt idx="1">
                  <c:v>0.53</c:v>
                </c:pt>
                <c:pt idx="2">
                  <c:v>0.51</c:v>
                </c:pt>
                <c:pt idx="3">
                  <c:v>0.48</c:v>
                </c:pt>
                <c:pt idx="4">
                  <c:v>0.46</c:v>
                </c:pt>
                <c:pt idx="5">
                  <c:v>0.43</c:v>
                </c:pt>
                <c:pt idx="6">
                  <c:v>0.4</c:v>
                </c:pt>
                <c:pt idx="7">
                  <c:v>0.39</c:v>
                </c:pt>
                <c:pt idx="8">
                  <c:v>0.38</c:v>
                </c:pt>
                <c:pt idx="9">
                  <c:v>0.36</c:v>
                </c:pt>
                <c:pt idx="10">
                  <c:v>0.3</c:v>
                </c:pt>
                <c:pt idx="11">
                  <c:v>0.35</c:v>
                </c:pt>
                <c:pt idx="12">
                  <c:v>0.31</c:v>
                </c:pt>
                <c:pt idx="13">
                  <c:v>0.3</c:v>
                </c:pt>
                <c:pt idx="14">
                  <c:v>0.27</c:v>
                </c:pt>
                <c:pt idx="15">
                  <c:v>0.22</c:v>
                </c:pt>
                <c:pt idx="16">
                  <c:v>0.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333B-4E9E-B084-3C5569BAE946}"/>
            </c:ext>
          </c:extLst>
        </c:ser>
        <c:ser>
          <c:idx val="1"/>
          <c:order val="1"/>
          <c:spPr>
            <a:solidFill>
              <a:srgbClr val="DA1838"/>
            </a:solidFill>
          </c:spPr>
          <c:invertIfNegative val="0"/>
          <c:dLbls>
            <c:dLbl>
              <c:idx val="1"/>
              <c:tx>
                <c:rich>
                  <a:bodyPr/>
                  <a:lstStyle/>
                  <a:p>
                    <a:fld id="{738A4214-6632-4AEE-B4FA-DF37F16797B6}" type="VALUE">
                      <a:rPr lang="en-US" smtClean="0">
                        <a:solidFill>
                          <a:schemeClr val="bg1"/>
                        </a:solidFill>
                      </a:rPr>
                      <a:pPr/>
                      <a:t>[WERT]</a:t>
                    </a:fld>
                    <a:endParaRPr lang="de-CH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2015-4ED6-99DD-D5DB4D922BFB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45669142-DF90-45AA-9B32-7CFC749F9A68}" type="VALUE">
                      <a:rPr lang="en-US" smtClean="0">
                        <a:solidFill>
                          <a:schemeClr val="bg1"/>
                        </a:solidFill>
                      </a:rPr>
                      <a:pPr/>
                      <a:t>[WERT]</a:t>
                    </a:fld>
                    <a:endParaRPr lang="de-CH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0-2015-4ED6-99DD-D5DB4D922BF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700" b="0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I$25:$Y$25</c:f>
              <c:strCache>
                <c:ptCount val="17"/>
                <c:pt idx="0">
                  <c:v>Autumn 2015</c:v>
                </c:pt>
                <c:pt idx="1">
                  <c:v>Spring 2016</c:v>
                </c:pt>
                <c:pt idx="2">
                  <c:v>Autumn 2016</c:v>
                </c:pt>
                <c:pt idx="3">
                  <c:v>Spring 2017</c:v>
                </c:pt>
                <c:pt idx="4">
                  <c:v>Autumn 2017</c:v>
                </c:pt>
                <c:pt idx="5">
                  <c:v>Spring 2018</c:v>
                </c:pt>
                <c:pt idx="6">
                  <c:v>Autumn 2018</c:v>
                </c:pt>
                <c:pt idx="7">
                  <c:v>Spring 2019</c:v>
                </c:pt>
                <c:pt idx="8">
                  <c:v>Autumn 2019</c:v>
                </c:pt>
                <c:pt idx="9">
                  <c:v>Spring 2020</c:v>
                </c:pt>
                <c:pt idx="10">
                  <c:v>Autumn 2020</c:v>
                </c:pt>
                <c:pt idx="11">
                  <c:v>Spring 2021</c:v>
                </c:pt>
                <c:pt idx="12">
                  <c:v>Autumn 2021</c:v>
                </c:pt>
                <c:pt idx="13">
                  <c:v>Spring 2022</c:v>
                </c:pt>
                <c:pt idx="14">
                  <c:v>Autumn 2022</c:v>
                </c:pt>
                <c:pt idx="15">
                  <c:v>Spring 2023</c:v>
                </c:pt>
                <c:pt idx="16">
                  <c:v>Autumn 2023</c:v>
                </c:pt>
              </c:strCache>
            </c:strRef>
          </c:cat>
          <c:val>
            <c:numRef>
              <c:f>Tabelle1!$I$27:$Y$27</c:f>
              <c:numCache>
                <c:formatCode>0%</c:formatCode>
                <c:ptCount val="17"/>
                <c:pt idx="0">
                  <c:v>0.25</c:v>
                </c:pt>
                <c:pt idx="1">
                  <c:v>0.32</c:v>
                </c:pt>
                <c:pt idx="2">
                  <c:v>0.31</c:v>
                </c:pt>
                <c:pt idx="3">
                  <c:v>0.37</c:v>
                </c:pt>
                <c:pt idx="4">
                  <c:v>0.36</c:v>
                </c:pt>
                <c:pt idx="5">
                  <c:v>0.38</c:v>
                </c:pt>
                <c:pt idx="6">
                  <c:v>0.37</c:v>
                </c:pt>
                <c:pt idx="7">
                  <c:v>0.41</c:v>
                </c:pt>
                <c:pt idx="8">
                  <c:v>0.39</c:v>
                </c:pt>
                <c:pt idx="9">
                  <c:v>0.43</c:v>
                </c:pt>
                <c:pt idx="10">
                  <c:v>0.49</c:v>
                </c:pt>
                <c:pt idx="11">
                  <c:v>0.4</c:v>
                </c:pt>
                <c:pt idx="12">
                  <c:v>0.41</c:v>
                </c:pt>
                <c:pt idx="13">
                  <c:v>0.46</c:v>
                </c:pt>
                <c:pt idx="14">
                  <c:v>0.44</c:v>
                </c:pt>
                <c:pt idx="15">
                  <c:v>0.49</c:v>
                </c:pt>
                <c:pt idx="16">
                  <c:v>0.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83A0-4A7B-8E08-90643A9C7117}"/>
            </c:ext>
          </c:extLst>
        </c:ser>
        <c:ser>
          <c:idx val="2"/>
          <c:order val="2"/>
          <c:spPr>
            <a:solidFill>
              <a:sysClr val="windowText" lastClr="000000">
                <a:lumMod val="75000"/>
                <a:lumOff val="25000"/>
              </a:sys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700" b="0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I$25:$Y$25</c:f>
              <c:strCache>
                <c:ptCount val="17"/>
                <c:pt idx="0">
                  <c:v>Autumn 2015</c:v>
                </c:pt>
                <c:pt idx="1">
                  <c:v>Spring 2016</c:v>
                </c:pt>
                <c:pt idx="2">
                  <c:v>Autumn 2016</c:v>
                </c:pt>
                <c:pt idx="3">
                  <c:v>Spring 2017</c:v>
                </c:pt>
                <c:pt idx="4">
                  <c:v>Autumn 2017</c:v>
                </c:pt>
                <c:pt idx="5">
                  <c:v>Spring 2018</c:v>
                </c:pt>
                <c:pt idx="6">
                  <c:v>Autumn 2018</c:v>
                </c:pt>
                <c:pt idx="7">
                  <c:v>Spring 2019</c:v>
                </c:pt>
                <c:pt idx="8">
                  <c:v>Autumn 2019</c:v>
                </c:pt>
                <c:pt idx="9">
                  <c:v>Spring 2020</c:v>
                </c:pt>
                <c:pt idx="10">
                  <c:v>Autumn 2020</c:v>
                </c:pt>
                <c:pt idx="11">
                  <c:v>Spring 2021</c:v>
                </c:pt>
                <c:pt idx="12">
                  <c:v>Autumn 2021</c:v>
                </c:pt>
                <c:pt idx="13">
                  <c:v>Spring 2022</c:v>
                </c:pt>
                <c:pt idx="14">
                  <c:v>Autumn 2022</c:v>
                </c:pt>
                <c:pt idx="15">
                  <c:v>Spring 2023</c:v>
                </c:pt>
                <c:pt idx="16">
                  <c:v>Autumn 2023</c:v>
                </c:pt>
              </c:strCache>
            </c:strRef>
          </c:cat>
          <c:val>
            <c:numRef>
              <c:f>Tabelle1!$I$28:$Y$28</c:f>
              <c:numCache>
                <c:formatCode>0%</c:formatCode>
                <c:ptCount val="17"/>
                <c:pt idx="0">
                  <c:v>0.2</c:v>
                </c:pt>
                <c:pt idx="1">
                  <c:v>0.15</c:v>
                </c:pt>
                <c:pt idx="2">
                  <c:v>0.18</c:v>
                </c:pt>
                <c:pt idx="3">
                  <c:v>0.15</c:v>
                </c:pt>
                <c:pt idx="4">
                  <c:v>0.18</c:v>
                </c:pt>
                <c:pt idx="5">
                  <c:v>0.19</c:v>
                </c:pt>
                <c:pt idx="6">
                  <c:v>0.23</c:v>
                </c:pt>
                <c:pt idx="7">
                  <c:v>0.2</c:v>
                </c:pt>
                <c:pt idx="8">
                  <c:v>0.23</c:v>
                </c:pt>
                <c:pt idx="9">
                  <c:v>0.21</c:v>
                </c:pt>
                <c:pt idx="10">
                  <c:v>0.21</c:v>
                </c:pt>
                <c:pt idx="11">
                  <c:v>0.25</c:v>
                </c:pt>
                <c:pt idx="12">
                  <c:v>0.28000000000000003</c:v>
                </c:pt>
                <c:pt idx="13">
                  <c:v>0.24</c:v>
                </c:pt>
                <c:pt idx="14">
                  <c:v>0.28999999999999998</c:v>
                </c:pt>
                <c:pt idx="15">
                  <c:v>0.28999999999999998</c:v>
                </c:pt>
                <c:pt idx="16">
                  <c:v>0.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83A0-4A7B-8E08-90643A9C711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30"/>
        <c:overlap val="100"/>
        <c:axId val="318155776"/>
        <c:axId val="318210816"/>
      </c:barChart>
      <c:catAx>
        <c:axId val="3181557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-5400000" vert="horz"/>
          <a:lstStyle/>
          <a:p>
            <a:pPr algn="ctr">
              <a:defRPr lang="en-US" sz="10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pPr>
            <a:endParaRPr lang="de-DE"/>
          </a:p>
        </c:txPr>
        <c:crossAx val="318210816"/>
        <c:crosses val="autoZero"/>
        <c:auto val="1"/>
        <c:lblAlgn val="ctr"/>
        <c:lblOffset val="50"/>
        <c:noMultiLvlLbl val="0"/>
      </c:catAx>
      <c:valAx>
        <c:axId val="318210816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0%" sourceLinked="1"/>
        <c:majorTickMark val="out"/>
        <c:minorTickMark val="none"/>
        <c:tickLblPos val="nextTo"/>
        <c:crossAx val="318155776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>
          <a:latin typeface="ATC Overlook Heavy" pitchFamily="50" charset="0"/>
        </a:defRPr>
      </a:pPr>
      <a:endParaRPr lang="de-DE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4811553860270666E-2"/>
          <c:y val="0.1136045349229788"/>
          <c:w val="0.92125746316252943"/>
          <c:h val="0.51896284442772789"/>
        </c:manualLayout>
      </c:layout>
      <c:barChart>
        <c:barDir val="col"/>
        <c:grouping val="percentStacked"/>
        <c:varyColors val="0"/>
        <c:ser>
          <c:idx val="0"/>
          <c:order val="0"/>
          <c:spPr>
            <a:solidFill>
              <a:sysClr val="window" lastClr="FFFFFF">
                <a:lumMod val="50000"/>
              </a:sysClr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33B-4E9E-B084-3C5569BAE946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33B-4E9E-B084-3C5569BAE946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33B-4E9E-B084-3C5569BAE946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33B-4E9E-B084-3C5569BAE946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333B-4E9E-B084-3C5569BAE946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333B-4E9E-B084-3C5569BAE946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D-E3FF-4527-A5C1-B3F424E91F53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E-E3FF-4527-A5C1-B3F424E91F53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F-E3FF-4527-A5C1-B3F424E91F53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30-E3FF-4527-A5C1-B3F424E91F53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CFC5-4E45-B22E-4526AA15503C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CFC5-4E45-B22E-4526AA15503C}"/>
              </c:ext>
            </c:extLst>
          </c:dPt>
          <c:dPt>
            <c:idx val="1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CFC5-4E45-B22E-4526AA15503C}"/>
              </c:ext>
            </c:extLst>
          </c:dPt>
          <c:dPt>
            <c:idx val="1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CFC5-4E45-B22E-4526AA15503C}"/>
              </c:ext>
            </c:extLst>
          </c:dPt>
          <c:dPt>
            <c:idx val="1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F-CFC5-4E45-B22E-4526AA15503C}"/>
              </c:ext>
            </c:extLst>
          </c:dPt>
          <c:dLbls>
            <c:dLbl>
              <c:idx val="1"/>
              <c:tx>
                <c:rich>
                  <a:bodyPr/>
                  <a:lstStyle/>
                  <a:p>
                    <a:fld id="{688E755A-ABDB-4CD2-B0C0-466ADC885D3D}" type="VALUE">
                      <a:rPr lang="en-US" smtClean="0">
                        <a:solidFill>
                          <a:schemeClr val="bg1"/>
                        </a:solidFill>
                      </a:rPr>
                      <a:pPr/>
                      <a:t>[WERT]</a:t>
                    </a:fld>
                    <a:endParaRPr lang="de-CH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7D9E-4746-AFF4-F31AFD260B27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67BB1531-1F34-4BCB-95D6-6DA517E16456}" type="VALUE">
                      <a:rPr lang="en-US" smtClean="0">
                        <a:solidFill>
                          <a:schemeClr val="bg1"/>
                        </a:solidFill>
                      </a:rPr>
                      <a:pPr/>
                      <a:t>[WERT]</a:t>
                    </a:fld>
                    <a:endParaRPr lang="de-CH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333B-4E9E-B084-3C5569BAE94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700" b="0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F$25:$V$25</c:f>
              <c:strCache>
                <c:ptCount val="17"/>
                <c:pt idx="0">
                  <c:v>Autumn 2015</c:v>
                </c:pt>
                <c:pt idx="1">
                  <c:v>Spring 2016</c:v>
                </c:pt>
                <c:pt idx="2">
                  <c:v>Autumn 2016</c:v>
                </c:pt>
                <c:pt idx="3">
                  <c:v>Spring 2017</c:v>
                </c:pt>
                <c:pt idx="4">
                  <c:v>Autumn 2017</c:v>
                </c:pt>
                <c:pt idx="5">
                  <c:v>Spring 2018</c:v>
                </c:pt>
                <c:pt idx="6">
                  <c:v>Autumn 2018</c:v>
                </c:pt>
                <c:pt idx="7">
                  <c:v>Spring 2019</c:v>
                </c:pt>
                <c:pt idx="8">
                  <c:v>Autumn 2019</c:v>
                </c:pt>
                <c:pt idx="9">
                  <c:v>Spring 2020</c:v>
                </c:pt>
                <c:pt idx="10">
                  <c:v>Autumn 2020</c:v>
                </c:pt>
                <c:pt idx="11">
                  <c:v>Spring 2021</c:v>
                </c:pt>
                <c:pt idx="12">
                  <c:v>Autumn 2021</c:v>
                </c:pt>
                <c:pt idx="13">
                  <c:v>Spring 2022</c:v>
                </c:pt>
                <c:pt idx="14">
                  <c:v>Autumn 2022</c:v>
                </c:pt>
                <c:pt idx="15">
                  <c:v>Spring 2023</c:v>
                </c:pt>
                <c:pt idx="16">
                  <c:v>Autumn 2023</c:v>
                </c:pt>
              </c:strCache>
            </c:strRef>
          </c:cat>
          <c:val>
            <c:numRef>
              <c:f>Tabelle1!$F$26:$V$26</c:f>
              <c:numCache>
                <c:formatCode>0%</c:formatCode>
                <c:ptCount val="17"/>
                <c:pt idx="0">
                  <c:v>0.51</c:v>
                </c:pt>
                <c:pt idx="1">
                  <c:v>0.46</c:v>
                </c:pt>
                <c:pt idx="2">
                  <c:v>0.48</c:v>
                </c:pt>
                <c:pt idx="3">
                  <c:v>0.42</c:v>
                </c:pt>
                <c:pt idx="4">
                  <c:v>0.4</c:v>
                </c:pt>
                <c:pt idx="5">
                  <c:v>0.35</c:v>
                </c:pt>
                <c:pt idx="6">
                  <c:v>0.39</c:v>
                </c:pt>
                <c:pt idx="7">
                  <c:v>0.34</c:v>
                </c:pt>
                <c:pt idx="8">
                  <c:v>0.32</c:v>
                </c:pt>
                <c:pt idx="9">
                  <c:v>0.26</c:v>
                </c:pt>
                <c:pt idx="10">
                  <c:v>0.27</c:v>
                </c:pt>
                <c:pt idx="11">
                  <c:v>0.26</c:v>
                </c:pt>
                <c:pt idx="12">
                  <c:v>0.24</c:v>
                </c:pt>
                <c:pt idx="13">
                  <c:v>0.23</c:v>
                </c:pt>
                <c:pt idx="14">
                  <c:v>0.19</c:v>
                </c:pt>
                <c:pt idx="15">
                  <c:v>0.18</c:v>
                </c:pt>
                <c:pt idx="16">
                  <c:v>0.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333B-4E9E-B084-3C5569BAE946}"/>
            </c:ext>
          </c:extLst>
        </c:ser>
        <c:ser>
          <c:idx val="1"/>
          <c:order val="1"/>
          <c:spPr>
            <a:solidFill>
              <a:srgbClr val="DA1838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700" b="0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F$25:$V$25</c:f>
              <c:strCache>
                <c:ptCount val="17"/>
                <c:pt idx="0">
                  <c:v>Autumn 2015</c:v>
                </c:pt>
                <c:pt idx="1">
                  <c:v>Spring 2016</c:v>
                </c:pt>
                <c:pt idx="2">
                  <c:v>Autumn 2016</c:v>
                </c:pt>
                <c:pt idx="3">
                  <c:v>Spring 2017</c:v>
                </c:pt>
                <c:pt idx="4">
                  <c:v>Autumn 2017</c:v>
                </c:pt>
                <c:pt idx="5">
                  <c:v>Spring 2018</c:v>
                </c:pt>
                <c:pt idx="6">
                  <c:v>Autumn 2018</c:v>
                </c:pt>
                <c:pt idx="7">
                  <c:v>Spring 2019</c:v>
                </c:pt>
                <c:pt idx="8">
                  <c:v>Autumn 2019</c:v>
                </c:pt>
                <c:pt idx="9">
                  <c:v>Spring 2020</c:v>
                </c:pt>
                <c:pt idx="10">
                  <c:v>Autumn 2020</c:v>
                </c:pt>
                <c:pt idx="11">
                  <c:v>Spring 2021</c:v>
                </c:pt>
                <c:pt idx="12">
                  <c:v>Autumn 2021</c:v>
                </c:pt>
                <c:pt idx="13">
                  <c:v>Spring 2022</c:v>
                </c:pt>
                <c:pt idx="14">
                  <c:v>Autumn 2022</c:v>
                </c:pt>
                <c:pt idx="15">
                  <c:v>Spring 2023</c:v>
                </c:pt>
                <c:pt idx="16">
                  <c:v>Autumn 2023</c:v>
                </c:pt>
              </c:strCache>
            </c:strRef>
          </c:cat>
          <c:val>
            <c:numRef>
              <c:f>Tabelle1!$F$27:$V$27</c:f>
              <c:numCache>
                <c:formatCode>0%</c:formatCode>
                <c:ptCount val="17"/>
                <c:pt idx="0">
                  <c:v>0.21</c:v>
                </c:pt>
                <c:pt idx="1">
                  <c:v>0.24</c:v>
                </c:pt>
                <c:pt idx="2">
                  <c:v>0.24</c:v>
                </c:pt>
                <c:pt idx="3">
                  <c:v>0.27</c:v>
                </c:pt>
                <c:pt idx="4">
                  <c:v>0.28999999999999998</c:v>
                </c:pt>
                <c:pt idx="5">
                  <c:v>0.31</c:v>
                </c:pt>
                <c:pt idx="6">
                  <c:v>0.31</c:v>
                </c:pt>
                <c:pt idx="7">
                  <c:v>0.32</c:v>
                </c:pt>
                <c:pt idx="8">
                  <c:v>0.35</c:v>
                </c:pt>
                <c:pt idx="9">
                  <c:v>0.38</c:v>
                </c:pt>
                <c:pt idx="10">
                  <c:v>0.37</c:v>
                </c:pt>
                <c:pt idx="11">
                  <c:v>0.33</c:v>
                </c:pt>
                <c:pt idx="12">
                  <c:v>0.36</c:v>
                </c:pt>
                <c:pt idx="13">
                  <c:v>0.37</c:v>
                </c:pt>
                <c:pt idx="14">
                  <c:v>0.41</c:v>
                </c:pt>
                <c:pt idx="15">
                  <c:v>0.35</c:v>
                </c:pt>
                <c:pt idx="16">
                  <c:v>0.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CFC5-4E45-B22E-4526AA15503C}"/>
            </c:ext>
          </c:extLst>
        </c:ser>
        <c:ser>
          <c:idx val="2"/>
          <c:order val="2"/>
          <c:spPr>
            <a:solidFill>
              <a:sysClr val="windowText" lastClr="000000">
                <a:lumMod val="75000"/>
                <a:lumOff val="25000"/>
              </a:sys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>
                    <a:solidFill>
                      <a:schemeClr val="bg1"/>
                    </a:solidFill>
                    <a:latin typeface="+mj-lt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F$25:$V$25</c:f>
              <c:strCache>
                <c:ptCount val="17"/>
                <c:pt idx="0">
                  <c:v>Autumn 2015</c:v>
                </c:pt>
                <c:pt idx="1">
                  <c:v>Spring 2016</c:v>
                </c:pt>
                <c:pt idx="2">
                  <c:v>Autumn 2016</c:v>
                </c:pt>
                <c:pt idx="3">
                  <c:v>Spring 2017</c:v>
                </c:pt>
                <c:pt idx="4">
                  <c:v>Autumn 2017</c:v>
                </c:pt>
                <c:pt idx="5">
                  <c:v>Spring 2018</c:v>
                </c:pt>
                <c:pt idx="6">
                  <c:v>Autumn 2018</c:v>
                </c:pt>
                <c:pt idx="7">
                  <c:v>Spring 2019</c:v>
                </c:pt>
                <c:pt idx="8">
                  <c:v>Autumn 2019</c:v>
                </c:pt>
                <c:pt idx="9">
                  <c:v>Spring 2020</c:v>
                </c:pt>
                <c:pt idx="10">
                  <c:v>Autumn 2020</c:v>
                </c:pt>
                <c:pt idx="11">
                  <c:v>Spring 2021</c:v>
                </c:pt>
                <c:pt idx="12">
                  <c:v>Autumn 2021</c:v>
                </c:pt>
                <c:pt idx="13">
                  <c:v>Spring 2022</c:v>
                </c:pt>
                <c:pt idx="14">
                  <c:v>Autumn 2022</c:v>
                </c:pt>
                <c:pt idx="15">
                  <c:v>Spring 2023</c:v>
                </c:pt>
                <c:pt idx="16">
                  <c:v>Autumn 2023</c:v>
                </c:pt>
              </c:strCache>
            </c:strRef>
          </c:cat>
          <c:val>
            <c:numRef>
              <c:f>Tabelle1!$F$28:$V$28</c:f>
              <c:numCache>
                <c:formatCode>0%</c:formatCode>
                <c:ptCount val="17"/>
                <c:pt idx="0">
                  <c:v>0.28000000000000003</c:v>
                </c:pt>
                <c:pt idx="1">
                  <c:v>0.3</c:v>
                </c:pt>
                <c:pt idx="2">
                  <c:v>0.28000000000000003</c:v>
                </c:pt>
                <c:pt idx="3">
                  <c:v>0.31</c:v>
                </c:pt>
                <c:pt idx="4">
                  <c:v>0.31</c:v>
                </c:pt>
                <c:pt idx="5">
                  <c:v>0.34</c:v>
                </c:pt>
                <c:pt idx="6">
                  <c:v>0.3</c:v>
                </c:pt>
                <c:pt idx="7">
                  <c:v>0.34</c:v>
                </c:pt>
                <c:pt idx="8">
                  <c:v>0.33</c:v>
                </c:pt>
                <c:pt idx="9">
                  <c:v>0.36</c:v>
                </c:pt>
                <c:pt idx="10">
                  <c:v>0.36</c:v>
                </c:pt>
                <c:pt idx="11">
                  <c:v>0.41</c:v>
                </c:pt>
                <c:pt idx="12">
                  <c:v>0.4</c:v>
                </c:pt>
                <c:pt idx="13">
                  <c:v>0.4</c:v>
                </c:pt>
                <c:pt idx="14">
                  <c:v>0.4</c:v>
                </c:pt>
                <c:pt idx="15">
                  <c:v>0.47</c:v>
                </c:pt>
                <c:pt idx="16">
                  <c:v>0.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CFC5-4E45-B22E-4526AA15503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30"/>
        <c:overlap val="100"/>
        <c:axId val="347244032"/>
        <c:axId val="347245568"/>
      </c:barChart>
      <c:catAx>
        <c:axId val="3472440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-5400000" vert="horz"/>
          <a:lstStyle/>
          <a:p>
            <a:pPr algn="ctr">
              <a:defRPr lang="en-US" sz="10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pPr>
            <a:endParaRPr lang="de-DE"/>
          </a:p>
        </c:txPr>
        <c:crossAx val="347245568"/>
        <c:crosses val="autoZero"/>
        <c:auto val="1"/>
        <c:lblAlgn val="ctr"/>
        <c:lblOffset val="50"/>
        <c:noMultiLvlLbl val="0"/>
      </c:catAx>
      <c:valAx>
        <c:axId val="347245568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0%" sourceLinked="1"/>
        <c:majorTickMark val="out"/>
        <c:minorTickMark val="none"/>
        <c:tickLblPos val="nextTo"/>
        <c:crossAx val="347244032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>
          <a:latin typeface="ATC Overlook Heavy" pitchFamily="50" charset="0"/>
        </a:defRPr>
      </a:pPr>
      <a:endParaRPr lang="de-DE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4609866337100946E-2"/>
          <c:y val="0.1136045349229788"/>
          <c:w val="0.93539013366289903"/>
          <c:h val="0.51896284442772789"/>
        </c:manualLayout>
      </c:layout>
      <c:barChart>
        <c:barDir val="col"/>
        <c:grouping val="percentStacked"/>
        <c:varyColors val="0"/>
        <c:ser>
          <c:idx val="0"/>
          <c:order val="0"/>
          <c:spPr>
            <a:solidFill>
              <a:sysClr val="window" lastClr="FFFFFF">
                <a:lumMod val="50000"/>
              </a:sysClr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33B-4E9E-B084-3C5569BAE946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33B-4E9E-B084-3C5569BAE946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33B-4E9E-B084-3C5569BAE946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33B-4E9E-B084-3C5569BAE946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333B-4E9E-B084-3C5569BAE946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333B-4E9E-B084-3C5569BAE946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D-E3FF-4527-A5C1-B3F424E91F53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E-E3FF-4527-A5C1-B3F424E91F53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F-E3FF-4527-A5C1-B3F424E91F53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30-E3FF-4527-A5C1-B3F424E91F53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B43C-4FC4-95BA-4850DB773970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B43C-4FC4-95BA-4850DB773970}"/>
              </c:ext>
            </c:extLst>
          </c:dPt>
          <c:dPt>
            <c:idx val="1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B43C-4FC4-95BA-4850DB773970}"/>
              </c:ext>
            </c:extLst>
          </c:dPt>
          <c:dPt>
            <c:idx val="1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B43C-4FC4-95BA-4850DB773970}"/>
              </c:ext>
            </c:extLst>
          </c:dPt>
          <c:dPt>
            <c:idx val="1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F-B43C-4FC4-95BA-4850DB773970}"/>
              </c:ext>
            </c:extLst>
          </c:dPt>
          <c:dLbls>
            <c:dLbl>
              <c:idx val="4"/>
              <c:tx>
                <c:rich>
                  <a:bodyPr/>
                  <a:lstStyle/>
                  <a:p>
                    <a:fld id="{30B53961-327A-4222-A677-5F87EBBC7CFC}" type="VALUE">
                      <a:rPr lang="en-US" sz="700" smtClean="0">
                        <a:solidFill>
                          <a:schemeClr val="bg1"/>
                        </a:solidFill>
                      </a:rPr>
                      <a:pPr/>
                      <a:t>[WERT]</a:t>
                    </a:fld>
                    <a:endParaRPr lang="de-CH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333B-4E9E-B084-3C5569BAE94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700" b="0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C$25:$S$25</c:f>
              <c:strCache>
                <c:ptCount val="17"/>
                <c:pt idx="0">
                  <c:v>Autumn 2015</c:v>
                </c:pt>
                <c:pt idx="1">
                  <c:v>Spring 2016</c:v>
                </c:pt>
                <c:pt idx="2">
                  <c:v>Autumn 2016</c:v>
                </c:pt>
                <c:pt idx="3">
                  <c:v>Spring 2017</c:v>
                </c:pt>
                <c:pt idx="4">
                  <c:v>Autumn 2017</c:v>
                </c:pt>
                <c:pt idx="5">
                  <c:v>Spring 2018</c:v>
                </c:pt>
                <c:pt idx="6">
                  <c:v>Autumn 2018</c:v>
                </c:pt>
                <c:pt idx="7">
                  <c:v>Spring 2019</c:v>
                </c:pt>
                <c:pt idx="8">
                  <c:v>Autumn 2019</c:v>
                </c:pt>
                <c:pt idx="9">
                  <c:v>Spring 2020</c:v>
                </c:pt>
                <c:pt idx="10">
                  <c:v>Autumn 2020</c:v>
                </c:pt>
                <c:pt idx="11">
                  <c:v>Spring 2021</c:v>
                </c:pt>
                <c:pt idx="12">
                  <c:v>Autumn 2021</c:v>
                </c:pt>
                <c:pt idx="13">
                  <c:v>Spring 2022</c:v>
                </c:pt>
                <c:pt idx="14">
                  <c:v>Autumn 2022</c:v>
                </c:pt>
                <c:pt idx="15">
                  <c:v>Spring 2023</c:v>
                </c:pt>
                <c:pt idx="16">
                  <c:v>Autumn 2023</c:v>
                </c:pt>
              </c:strCache>
            </c:strRef>
          </c:cat>
          <c:val>
            <c:numRef>
              <c:f>Tabelle1!$C$26:$S$26</c:f>
              <c:numCache>
                <c:formatCode>0%</c:formatCode>
                <c:ptCount val="17"/>
                <c:pt idx="0">
                  <c:v>0.42</c:v>
                </c:pt>
                <c:pt idx="1">
                  <c:v>0.38</c:v>
                </c:pt>
                <c:pt idx="2">
                  <c:v>0.36</c:v>
                </c:pt>
                <c:pt idx="3">
                  <c:v>0.37</c:v>
                </c:pt>
                <c:pt idx="4">
                  <c:v>0.26</c:v>
                </c:pt>
                <c:pt idx="5">
                  <c:v>0.27</c:v>
                </c:pt>
                <c:pt idx="6">
                  <c:v>0.27</c:v>
                </c:pt>
                <c:pt idx="7">
                  <c:v>0.27</c:v>
                </c:pt>
                <c:pt idx="8">
                  <c:v>0.22</c:v>
                </c:pt>
                <c:pt idx="9">
                  <c:v>0.2</c:v>
                </c:pt>
                <c:pt idx="10">
                  <c:v>0.22</c:v>
                </c:pt>
                <c:pt idx="11">
                  <c:v>0.2</c:v>
                </c:pt>
                <c:pt idx="12">
                  <c:v>0.15</c:v>
                </c:pt>
                <c:pt idx="13">
                  <c:v>0.18</c:v>
                </c:pt>
                <c:pt idx="14">
                  <c:v>0.2</c:v>
                </c:pt>
                <c:pt idx="15">
                  <c:v>0.13</c:v>
                </c:pt>
                <c:pt idx="16">
                  <c:v>0.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333B-4E9E-B084-3C5569BAE946}"/>
            </c:ext>
          </c:extLst>
        </c:ser>
        <c:ser>
          <c:idx val="1"/>
          <c:order val="1"/>
          <c:spPr>
            <a:solidFill>
              <a:srgbClr val="DA1838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>
                    <a:solidFill>
                      <a:schemeClr val="bg1"/>
                    </a:solidFill>
                    <a:latin typeface="+mj-lt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C$25:$S$25</c:f>
              <c:strCache>
                <c:ptCount val="17"/>
                <c:pt idx="0">
                  <c:v>Autumn 2015</c:v>
                </c:pt>
                <c:pt idx="1">
                  <c:v>Spring 2016</c:v>
                </c:pt>
                <c:pt idx="2">
                  <c:v>Autumn 2016</c:v>
                </c:pt>
                <c:pt idx="3">
                  <c:v>Spring 2017</c:v>
                </c:pt>
                <c:pt idx="4">
                  <c:v>Autumn 2017</c:v>
                </c:pt>
                <c:pt idx="5">
                  <c:v>Spring 2018</c:v>
                </c:pt>
                <c:pt idx="6">
                  <c:v>Autumn 2018</c:v>
                </c:pt>
                <c:pt idx="7">
                  <c:v>Spring 2019</c:v>
                </c:pt>
                <c:pt idx="8">
                  <c:v>Autumn 2019</c:v>
                </c:pt>
                <c:pt idx="9">
                  <c:v>Spring 2020</c:v>
                </c:pt>
                <c:pt idx="10">
                  <c:v>Autumn 2020</c:v>
                </c:pt>
                <c:pt idx="11">
                  <c:v>Spring 2021</c:v>
                </c:pt>
                <c:pt idx="12">
                  <c:v>Autumn 2021</c:v>
                </c:pt>
                <c:pt idx="13">
                  <c:v>Spring 2022</c:v>
                </c:pt>
                <c:pt idx="14">
                  <c:v>Autumn 2022</c:v>
                </c:pt>
                <c:pt idx="15">
                  <c:v>Spring 2023</c:v>
                </c:pt>
                <c:pt idx="16">
                  <c:v>Autumn 2023</c:v>
                </c:pt>
              </c:strCache>
            </c:strRef>
          </c:cat>
          <c:val>
            <c:numRef>
              <c:f>Tabelle1!$C$27:$S$27</c:f>
              <c:numCache>
                <c:formatCode>0%</c:formatCode>
                <c:ptCount val="17"/>
                <c:pt idx="0">
                  <c:v>0.24</c:v>
                </c:pt>
                <c:pt idx="1">
                  <c:v>0.22</c:v>
                </c:pt>
                <c:pt idx="2">
                  <c:v>0.22</c:v>
                </c:pt>
                <c:pt idx="3">
                  <c:v>0.3</c:v>
                </c:pt>
                <c:pt idx="4">
                  <c:v>0.36</c:v>
                </c:pt>
                <c:pt idx="5">
                  <c:v>0.32</c:v>
                </c:pt>
                <c:pt idx="6">
                  <c:v>0.28000000000000003</c:v>
                </c:pt>
                <c:pt idx="7">
                  <c:v>0.32</c:v>
                </c:pt>
                <c:pt idx="8">
                  <c:v>0.33</c:v>
                </c:pt>
                <c:pt idx="9">
                  <c:v>0.36</c:v>
                </c:pt>
                <c:pt idx="10">
                  <c:v>0.32</c:v>
                </c:pt>
                <c:pt idx="11">
                  <c:v>0.35</c:v>
                </c:pt>
                <c:pt idx="12">
                  <c:v>0.34</c:v>
                </c:pt>
                <c:pt idx="13">
                  <c:v>0.38</c:v>
                </c:pt>
                <c:pt idx="14">
                  <c:v>0.35</c:v>
                </c:pt>
                <c:pt idx="15">
                  <c:v>0.37</c:v>
                </c:pt>
                <c:pt idx="16">
                  <c:v>0.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B43C-4FC4-95BA-4850DB773970}"/>
            </c:ext>
          </c:extLst>
        </c:ser>
        <c:ser>
          <c:idx val="2"/>
          <c:order val="2"/>
          <c:spPr>
            <a:solidFill>
              <a:sysClr val="windowText" lastClr="000000">
                <a:lumMod val="75000"/>
                <a:lumOff val="25000"/>
              </a:sys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>
                    <a:solidFill>
                      <a:schemeClr val="bg1"/>
                    </a:solidFill>
                    <a:latin typeface="+mj-lt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C$25:$S$25</c:f>
              <c:strCache>
                <c:ptCount val="17"/>
                <c:pt idx="0">
                  <c:v>Autumn 2015</c:v>
                </c:pt>
                <c:pt idx="1">
                  <c:v>Spring 2016</c:v>
                </c:pt>
                <c:pt idx="2">
                  <c:v>Autumn 2016</c:v>
                </c:pt>
                <c:pt idx="3">
                  <c:v>Spring 2017</c:v>
                </c:pt>
                <c:pt idx="4">
                  <c:v>Autumn 2017</c:v>
                </c:pt>
                <c:pt idx="5">
                  <c:v>Spring 2018</c:v>
                </c:pt>
                <c:pt idx="6">
                  <c:v>Autumn 2018</c:v>
                </c:pt>
                <c:pt idx="7">
                  <c:v>Spring 2019</c:v>
                </c:pt>
                <c:pt idx="8">
                  <c:v>Autumn 2019</c:v>
                </c:pt>
                <c:pt idx="9">
                  <c:v>Spring 2020</c:v>
                </c:pt>
                <c:pt idx="10">
                  <c:v>Autumn 2020</c:v>
                </c:pt>
                <c:pt idx="11">
                  <c:v>Spring 2021</c:v>
                </c:pt>
                <c:pt idx="12">
                  <c:v>Autumn 2021</c:v>
                </c:pt>
                <c:pt idx="13">
                  <c:v>Spring 2022</c:v>
                </c:pt>
                <c:pt idx="14">
                  <c:v>Autumn 2022</c:v>
                </c:pt>
                <c:pt idx="15">
                  <c:v>Spring 2023</c:v>
                </c:pt>
                <c:pt idx="16">
                  <c:v>Autumn 2023</c:v>
                </c:pt>
              </c:strCache>
            </c:strRef>
          </c:cat>
          <c:val>
            <c:numRef>
              <c:f>Tabelle1!$C$28:$S$28</c:f>
              <c:numCache>
                <c:formatCode>0%</c:formatCode>
                <c:ptCount val="17"/>
                <c:pt idx="0">
                  <c:v>0.34</c:v>
                </c:pt>
                <c:pt idx="1">
                  <c:v>0.4</c:v>
                </c:pt>
                <c:pt idx="2">
                  <c:v>0.42</c:v>
                </c:pt>
                <c:pt idx="3">
                  <c:v>0.33</c:v>
                </c:pt>
                <c:pt idx="4">
                  <c:v>0.38</c:v>
                </c:pt>
                <c:pt idx="5">
                  <c:v>0.41</c:v>
                </c:pt>
                <c:pt idx="6">
                  <c:v>0.45</c:v>
                </c:pt>
                <c:pt idx="7">
                  <c:v>0.41</c:v>
                </c:pt>
                <c:pt idx="8">
                  <c:v>0.45</c:v>
                </c:pt>
                <c:pt idx="9">
                  <c:v>0.44</c:v>
                </c:pt>
                <c:pt idx="10">
                  <c:v>0.46</c:v>
                </c:pt>
                <c:pt idx="11">
                  <c:v>0.45</c:v>
                </c:pt>
                <c:pt idx="12">
                  <c:v>0.51</c:v>
                </c:pt>
                <c:pt idx="13">
                  <c:v>0.44</c:v>
                </c:pt>
                <c:pt idx="14">
                  <c:v>0.45</c:v>
                </c:pt>
                <c:pt idx="15">
                  <c:v>0.5</c:v>
                </c:pt>
                <c:pt idx="16">
                  <c:v>0.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B43C-4FC4-95BA-4850DB77397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30"/>
        <c:overlap val="100"/>
        <c:axId val="390336512"/>
        <c:axId val="390338048"/>
      </c:barChart>
      <c:catAx>
        <c:axId val="3903365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-5400000" vert="horz"/>
          <a:lstStyle/>
          <a:p>
            <a:pPr algn="ctr">
              <a:defRPr lang="en-US" sz="10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pPr>
            <a:endParaRPr lang="de-DE"/>
          </a:p>
        </c:txPr>
        <c:crossAx val="390338048"/>
        <c:crosses val="autoZero"/>
        <c:auto val="1"/>
        <c:lblAlgn val="ctr"/>
        <c:lblOffset val="50"/>
        <c:noMultiLvlLbl val="0"/>
      </c:catAx>
      <c:valAx>
        <c:axId val="390338048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0%" sourceLinked="1"/>
        <c:majorTickMark val="out"/>
        <c:minorTickMark val="none"/>
        <c:tickLblPos val="nextTo"/>
        <c:crossAx val="390336512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>
          <a:latin typeface="ATC Overlook Heavy" pitchFamily="50" charset="0"/>
        </a:defRPr>
      </a:pPr>
      <a:endParaRPr lang="de-DE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5120326993896533E-2"/>
          <c:y val="8.4753491530845493E-2"/>
          <c:w val="0.98487964636986236"/>
          <c:h val="0.9152465345076510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Tabelle3!$C$2</c:f>
              <c:strCache>
                <c:ptCount val="1"/>
                <c:pt idx="0">
                  <c:v>UKW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Tabelle3!$B$3:$B$8</c:f>
              <c:strCache>
                <c:ptCount val="6"/>
                <c:pt idx="0">
                  <c:v>Zuhause</c:v>
                </c:pt>
                <c:pt idx="1">
                  <c:v>Arbeit</c:v>
                </c:pt>
                <c:pt idx="2">
                  <c:v>Auto</c:v>
                </c:pt>
                <c:pt idx="3">
                  <c:v>Unterwegs</c:v>
                </c:pt>
                <c:pt idx="4">
                  <c:v>Sport</c:v>
                </c:pt>
                <c:pt idx="5">
                  <c:v>Andere</c:v>
                </c:pt>
              </c:strCache>
            </c:strRef>
          </c:cat>
          <c:val>
            <c:numRef>
              <c:f>Tabelle3!$C$3:$C$8</c:f>
              <c:numCache>
                <c:formatCode>0.0</c:formatCode>
                <c:ptCount val="6"/>
                <c:pt idx="0">
                  <c:v>18.692</c:v>
                </c:pt>
                <c:pt idx="1">
                  <c:v>4.7889999999999997</c:v>
                </c:pt>
                <c:pt idx="2">
                  <c:v>6.5259999999999998</c:v>
                </c:pt>
                <c:pt idx="3">
                  <c:v>0.441</c:v>
                </c:pt>
                <c:pt idx="4">
                  <c:v>0.22900000000000001</c:v>
                </c:pt>
                <c:pt idx="5">
                  <c:v>0.791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57B-4FD8-A906-AF5695BB4564}"/>
            </c:ext>
          </c:extLst>
        </c:ser>
        <c:ser>
          <c:idx val="1"/>
          <c:order val="1"/>
          <c:tx>
            <c:strRef>
              <c:f>Tabelle3!$D$2</c:f>
              <c:strCache>
                <c:ptCount val="1"/>
                <c:pt idx="0">
                  <c:v>DAB/DAB+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cat>
            <c:strRef>
              <c:f>Tabelle3!$B$3:$B$8</c:f>
              <c:strCache>
                <c:ptCount val="6"/>
                <c:pt idx="0">
                  <c:v>Zuhause</c:v>
                </c:pt>
                <c:pt idx="1">
                  <c:v>Arbeit</c:v>
                </c:pt>
                <c:pt idx="2">
                  <c:v>Auto</c:v>
                </c:pt>
                <c:pt idx="3">
                  <c:v>Unterwegs</c:v>
                </c:pt>
                <c:pt idx="4">
                  <c:v>Sport</c:v>
                </c:pt>
                <c:pt idx="5">
                  <c:v>Andere</c:v>
                </c:pt>
              </c:strCache>
            </c:strRef>
          </c:cat>
          <c:val>
            <c:numRef>
              <c:f>Tabelle3!$D$3:$D$8</c:f>
              <c:numCache>
                <c:formatCode>0.0</c:formatCode>
                <c:ptCount val="6"/>
                <c:pt idx="0">
                  <c:v>39.101999999999997</c:v>
                </c:pt>
                <c:pt idx="1">
                  <c:v>10.656000000000001</c:v>
                </c:pt>
                <c:pt idx="2">
                  <c:v>11.02</c:v>
                </c:pt>
                <c:pt idx="3">
                  <c:v>0.57199999999999995</c:v>
                </c:pt>
                <c:pt idx="4">
                  <c:v>1.1180000000000001</c:v>
                </c:pt>
                <c:pt idx="5">
                  <c:v>0.277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657B-4FD8-A906-AF5695BB4564}"/>
            </c:ext>
          </c:extLst>
        </c:ser>
        <c:ser>
          <c:idx val="2"/>
          <c:order val="2"/>
          <c:tx>
            <c:strRef>
              <c:f>Tabelle3!$E$2</c:f>
              <c:strCache>
                <c:ptCount val="1"/>
                <c:pt idx="0">
                  <c:v>Internet/Digital</c:v>
                </c:pt>
              </c:strCache>
            </c:strRef>
          </c:tx>
          <c:spPr>
            <a:solidFill>
              <a:srgbClr val="7F7F7F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657B-4FD8-A906-AF5695BB4564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3B0D02EE-8E6F-4635-8CF6-B02A29BC0E63}" type="CELLRANGE">
                      <a:rPr lang="en-US" dirty="0"/>
                      <a:pPr/>
                      <a:t>[ZELLBEREICH]</a:t>
                    </a:fld>
                    <a:endParaRPr lang="de-CH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E-657B-4FD8-A906-AF5695BB4564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1EFAA03A-57E3-46DF-BAF9-6870B8FFC5F6}" type="CELLRANGE">
                      <a:rPr lang="de-CH"/>
                      <a:pPr/>
                      <a:t>[ZELLBEREICH]</a:t>
                    </a:fld>
                    <a:endParaRPr lang="de-CH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657B-4FD8-A906-AF5695BB4564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9410ECC9-D652-4BF6-9421-56031DFE75F6}" type="CELLRANGE">
                      <a:rPr lang="de-CH"/>
                      <a:pPr/>
                      <a:t>[ZELLBEREICH]</a:t>
                    </a:fld>
                    <a:endParaRPr lang="de-CH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10-657B-4FD8-A906-AF5695BB4564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657B-4FD8-A906-AF5695BB4564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657B-4FD8-A906-AF5695BB4564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657B-4FD8-A906-AF5695BB456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pPr>
                <a:endParaRPr lang="de-DE"/>
              </a:p>
            </c:txPr>
            <c:dLblPos val="inEnd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cat>
            <c:strRef>
              <c:f>Tabelle3!$B$3:$B$8</c:f>
              <c:strCache>
                <c:ptCount val="6"/>
                <c:pt idx="0">
                  <c:v>Zuhause</c:v>
                </c:pt>
                <c:pt idx="1">
                  <c:v>Arbeit</c:v>
                </c:pt>
                <c:pt idx="2">
                  <c:v>Auto</c:v>
                </c:pt>
                <c:pt idx="3">
                  <c:v>Unterwegs</c:v>
                </c:pt>
                <c:pt idx="4">
                  <c:v>Sport</c:v>
                </c:pt>
                <c:pt idx="5">
                  <c:v>Andere</c:v>
                </c:pt>
              </c:strCache>
            </c:strRef>
          </c:cat>
          <c:val>
            <c:numRef>
              <c:f>Tabelle3!$E$3:$E$8</c:f>
              <c:numCache>
                <c:formatCode>0.0</c:formatCode>
                <c:ptCount val="6"/>
                <c:pt idx="0">
                  <c:v>38.597000000000001</c:v>
                </c:pt>
                <c:pt idx="1">
                  <c:v>11.563000000000001</c:v>
                </c:pt>
                <c:pt idx="2">
                  <c:v>2.5110000000000001</c:v>
                </c:pt>
                <c:pt idx="3">
                  <c:v>3.1659999999999999</c:v>
                </c:pt>
                <c:pt idx="4">
                  <c:v>2.5489999999999999</c:v>
                </c:pt>
                <c:pt idx="5">
                  <c:v>1.4950000000000001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Tabelle3!$H$3:$H$8</c15:f>
                <c15:dlblRangeCache>
                  <c:ptCount val="6"/>
                  <c:pt idx="0">
                    <c:v>63%</c:v>
                  </c:pt>
                  <c:pt idx="1">
                    <c:v>18%</c:v>
                  </c:pt>
                  <c:pt idx="2">
                    <c:v>13%</c:v>
                  </c:pt>
                  <c:pt idx="3">
                    <c:v>3%</c:v>
                  </c:pt>
                  <c:pt idx="4">
                    <c:v>3%</c:v>
                  </c:pt>
                  <c:pt idx="5">
                    <c:v>2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4-657B-4FD8-A906-AF5695BB45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415958528"/>
        <c:axId val="415960064"/>
      </c:barChart>
      <c:catAx>
        <c:axId val="415958528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415960064"/>
        <c:crosses val="autoZero"/>
        <c:auto val="1"/>
        <c:lblAlgn val="ctr"/>
        <c:lblOffset val="100"/>
        <c:noMultiLvlLbl val="0"/>
      </c:catAx>
      <c:valAx>
        <c:axId val="415960064"/>
        <c:scaling>
          <c:orientation val="minMax"/>
          <c:max val="160"/>
        </c:scaling>
        <c:delete val="1"/>
        <c:axPos val="t"/>
        <c:numFmt formatCode="0.0" sourceLinked="1"/>
        <c:majorTickMark val="out"/>
        <c:minorTickMark val="none"/>
        <c:tickLblPos val="nextTo"/>
        <c:crossAx val="41595852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93254</cdr:x>
      <cdr:y>0.0977</cdr:y>
    </cdr:from>
    <cdr:to>
      <cdr:x>0.98332</cdr:x>
      <cdr:y>0.85377</cdr:y>
    </cdr:to>
    <cdr:sp macro="" textlink="">
      <cdr:nvSpPr>
        <cdr:cNvPr id="2" name="Rechteck 1">
          <a:extLst xmlns:a="http://schemas.openxmlformats.org/drawingml/2006/main">
            <a:ext uri="{FF2B5EF4-FFF2-40B4-BE49-F238E27FC236}">
              <a16:creationId xmlns:a16="http://schemas.microsoft.com/office/drawing/2014/main" id="{D4BBCF27-6C9E-430E-AC01-85B7F740E74E}"/>
            </a:ext>
          </a:extLst>
        </cdr:cNvPr>
        <cdr:cNvSpPr/>
      </cdr:nvSpPr>
      <cdr:spPr>
        <a:xfrm xmlns:a="http://schemas.openxmlformats.org/drawingml/2006/main">
          <a:off x="3626106" y="356007"/>
          <a:ext cx="197467" cy="2755027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19050">
          <a:solidFill>
            <a:srgbClr val="DA1838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de-CH" sz="100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94421</cdr:x>
      <cdr:y>0.09659</cdr:y>
    </cdr:from>
    <cdr:to>
      <cdr:x>1</cdr:x>
      <cdr:y>0.84908</cdr:y>
    </cdr:to>
    <cdr:sp macro="" textlink="">
      <cdr:nvSpPr>
        <cdr:cNvPr id="2" name="Rechteck 1">
          <a:extLst xmlns:a="http://schemas.openxmlformats.org/drawingml/2006/main">
            <a:ext uri="{FF2B5EF4-FFF2-40B4-BE49-F238E27FC236}">
              <a16:creationId xmlns:a16="http://schemas.microsoft.com/office/drawing/2014/main" id="{02DD9C86-463B-4CBF-BB31-94AC942C6E52}"/>
            </a:ext>
          </a:extLst>
        </cdr:cNvPr>
        <cdr:cNvSpPr/>
      </cdr:nvSpPr>
      <cdr:spPr>
        <a:xfrm xmlns:a="http://schemas.openxmlformats.org/drawingml/2006/main">
          <a:off x="3671486" y="351962"/>
          <a:ext cx="216946" cy="2741982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19050">
          <a:solidFill>
            <a:srgbClr val="DA1838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de-DE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de-CH" sz="1000"/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94718</cdr:x>
      <cdr:y>0.09642</cdr:y>
    </cdr:from>
    <cdr:to>
      <cdr:x>0.99766</cdr:x>
      <cdr:y>0.85023</cdr:y>
    </cdr:to>
    <cdr:sp macro="" textlink="">
      <cdr:nvSpPr>
        <cdr:cNvPr id="2" name="Rechteck 1">
          <a:extLst xmlns:a="http://schemas.openxmlformats.org/drawingml/2006/main">
            <a:ext uri="{FF2B5EF4-FFF2-40B4-BE49-F238E27FC236}">
              <a16:creationId xmlns:a16="http://schemas.microsoft.com/office/drawing/2014/main" id="{789B8947-DD19-40EC-A9CE-0FCB1710D5FF}"/>
            </a:ext>
          </a:extLst>
        </cdr:cNvPr>
        <cdr:cNvSpPr/>
      </cdr:nvSpPr>
      <cdr:spPr>
        <a:xfrm xmlns:a="http://schemas.openxmlformats.org/drawingml/2006/main">
          <a:off x="3683039" y="352529"/>
          <a:ext cx="196294" cy="2756067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19050">
          <a:solidFill>
            <a:srgbClr val="DA1838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de-CH" sz="100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9213" y="0"/>
            <a:ext cx="2951162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7AF224-1E6B-400B-A34C-3D8931131D2B}" type="datetimeFigureOut">
              <a:rPr lang="de-CH" smtClean="0"/>
              <a:t>05.02.2024</a:t>
            </a:fld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44038"/>
            <a:ext cx="2951163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9213" y="9444038"/>
            <a:ext cx="2951162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2D097D-7CA8-4758-923B-C4345482B1B0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631999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851" cy="49885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8536" y="0"/>
            <a:ext cx="2951851" cy="49885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DBFA24-7E6C-48CB-B64A-9464BD8CD7A3}" type="datetimeFigureOut">
              <a:rPr lang="de-CH" smtClean="0"/>
              <a:t>05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1197" y="4784834"/>
            <a:ext cx="5449570" cy="391486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3662"/>
            <a:ext cx="2951851" cy="4988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8536" y="9443662"/>
            <a:ext cx="2951851" cy="4988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44ED4B-C372-4800-BDE5-5BF564C9A5EF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779228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69B58C-C4AF-47C5-91B2-4AA5BA7CCFB7}" type="slidenum">
              <a:rPr lang="de-CH" smtClean="0"/>
              <a:t>1</a:t>
            </a:fld>
            <a:endParaRPr lang="de-CH"/>
          </a:p>
        </p:txBody>
      </p:sp>
      <p:sp>
        <p:nvSpPr>
          <p:cNvPr id="5" name="Kopfzeilenplatzhalt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de-CH"/>
              <a:t>DigiMig - Das Forschungsprojekt zur Migration der digitalen Radionutzung</a:t>
            </a:r>
          </a:p>
        </p:txBody>
      </p:sp>
    </p:spTree>
    <p:extLst>
      <p:ext uri="{BB962C8B-B14F-4D97-AF65-F5344CB8AC3E}">
        <p14:creationId xmlns:p14="http://schemas.microsoft.com/office/powerpoint/2010/main" val="110127394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de-CH"/>
              <a:t>DigiMig - Das Forschungsprojekt zur Migration der digitalen Radionutzung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4A885D-187A-41D0-A5FB-DCFD1B06E983}" type="slidenum">
              <a:rPr lang="de-CH" smtClean="0"/>
              <a:t>1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668413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50813" y="1347788"/>
            <a:ext cx="6472237" cy="36417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69B58C-C4AF-47C5-91B2-4AA5BA7CCFB7}" type="slidenum">
              <a:rPr lang="de-CH" smtClean="0"/>
              <a:t>2</a:t>
            </a:fld>
            <a:endParaRPr lang="de-CH"/>
          </a:p>
        </p:txBody>
      </p:sp>
      <p:sp>
        <p:nvSpPr>
          <p:cNvPr id="5" name="Kopfzeilenplatzhalt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de-CH"/>
              <a:t>DigiMig - Das Forschungsprojekt zur Migration der digitalen Radionutzung</a:t>
            </a:r>
          </a:p>
        </p:txBody>
      </p:sp>
    </p:spTree>
    <p:extLst>
      <p:ext uri="{BB962C8B-B14F-4D97-AF65-F5344CB8AC3E}">
        <p14:creationId xmlns:p14="http://schemas.microsoft.com/office/powerpoint/2010/main" val="4776171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50813" y="1347788"/>
            <a:ext cx="6472237" cy="36417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69B58C-C4AF-47C5-91B2-4AA5BA7CCFB7}" type="slidenum">
              <a:rPr lang="de-CH" smtClean="0"/>
              <a:t>3</a:t>
            </a:fld>
            <a:endParaRPr lang="de-CH"/>
          </a:p>
        </p:txBody>
      </p:sp>
      <p:sp>
        <p:nvSpPr>
          <p:cNvPr id="5" name="Kopfzeilenplatzhalt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de-CH"/>
              <a:t>DigiMig - Das Forschungsprojekt zur Migration der digitalen Radionutzung</a:t>
            </a:r>
          </a:p>
        </p:txBody>
      </p:sp>
    </p:spTree>
    <p:extLst>
      <p:ext uri="{BB962C8B-B14F-4D97-AF65-F5344CB8AC3E}">
        <p14:creationId xmlns:p14="http://schemas.microsoft.com/office/powerpoint/2010/main" val="12980350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50813" y="1347788"/>
            <a:ext cx="6472237" cy="36417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4A885D-187A-41D0-A5FB-DCFD1B06E983}" type="slidenum">
              <a:rPr lang="de-CH" smtClean="0"/>
              <a:t>4</a:t>
            </a:fld>
            <a:endParaRPr lang="de-CH"/>
          </a:p>
        </p:txBody>
      </p:sp>
      <p:sp>
        <p:nvSpPr>
          <p:cNvPr id="5" name="Kopfzeilenplatzhalt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de-CH"/>
              <a:t>DigiMig - Das Forschungsprojekt zur Migration der digitalen Radionutzung</a:t>
            </a:r>
          </a:p>
        </p:txBody>
      </p:sp>
    </p:spTree>
    <p:extLst>
      <p:ext uri="{BB962C8B-B14F-4D97-AF65-F5344CB8AC3E}">
        <p14:creationId xmlns:p14="http://schemas.microsoft.com/office/powerpoint/2010/main" val="929796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50813" y="1347788"/>
            <a:ext cx="6472237" cy="36417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4A885D-187A-41D0-A5FB-DCFD1B06E983}" type="slidenum">
              <a:rPr lang="de-CH" smtClean="0"/>
              <a:t>5</a:t>
            </a:fld>
            <a:endParaRPr lang="de-CH"/>
          </a:p>
        </p:txBody>
      </p:sp>
      <p:sp>
        <p:nvSpPr>
          <p:cNvPr id="5" name="Kopfzeilenplatzhalt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de-CH"/>
              <a:t>DigiMig - Das Forschungsprojekt zur Migration der digitalen Radionutzung</a:t>
            </a:r>
          </a:p>
        </p:txBody>
      </p:sp>
    </p:spTree>
    <p:extLst>
      <p:ext uri="{BB962C8B-B14F-4D97-AF65-F5344CB8AC3E}">
        <p14:creationId xmlns:p14="http://schemas.microsoft.com/office/powerpoint/2010/main" val="3828027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izenplatzhalt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1200" dirty="0">
                <a:solidFill>
                  <a:srgbClr val="FF0000"/>
                </a:solidFill>
              </a:rPr>
              <a:t>jeweils durch JALL angepasst, </a:t>
            </a:r>
            <a:r>
              <a:rPr lang="de-CH" sz="1200" dirty="0" err="1">
                <a:solidFill>
                  <a:srgbClr val="FF0000"/>
                </a:solidFill>
              </a:rPr>
              <a:t>note</a:t>
            </a:r>
            <a:r>
              <a:rPr lang="de-CH" sz="1200" dirty="0">
                <a:solidFill>
                  <a:srgbClr val="FF0000"/>
                </a:solidFill>
              </a:rPr>
              <a:t> </a:t>
            </a:r>
            <a:r>
              <a:rPr lang="de-CH" sz="1200" dirty="0" err="1">
                <a:solidFill>
                  <a:srgbClr val="FF0000"/>
                </a:solidFill>
              </a:rPr>
              <a:t>to</a:t>
            </a:r>
            <a:r>
              <a:rPr lang="de-CH" sz="1200" dirty="0">
                <a:solidFill>
                  <a:srgbClr val="FF0000"/>
                </a:solidFill>
              </a:rPr>
              <a:t> </a:t>
            </a:r>
            <a:r>
              <a:rPr lang="de-CH" sz="1200" dirty="0" err="1">
                <a:solidFill>
                  <a:srgbClr val="FF0000"/>
                </a:solidFill>
              </a:rPr>
              <a:t>self</a:t>
            </a:r>
            <a:r>
              <a:rPr lang="de-CH" sz="1200" dirty="0">
                <a:solidFill>
                  <a:srgbClr val="FF0000"/>
                </a:solidFill>
              </a:rPr>
              <a:t>: Quelle nicht vergessen</a:t>
            </a:r>
          </a:p>
        </p:txBody>
      </p:sp>
    </p:spTree>
    <p:extLst>
      <p:ext uri="{BB962C8B-B14F-4D97-AF65-F5344CB8AC3E}">
        <p14:creationId xmlns:p14="http://schemas.microsoft.com/office/powerpoint/2010/main" val="17010944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izenplatzhalt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CH" sz="12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20454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izenplatzhalter 1">
            <a:extLst>
              <a:ext uri="{FF2B5EF4-FFF2-40B4-BE49-F238E27FC236}">
                <a16:creationId xmlns:a16="http://schemas.microsoft.com/office/drawing/2014/main" id="{6B2E7DF5-F0BE-4B23-81F1-1A42603D96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endParaRPr lang="de-CH" sz="12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7746282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50813" y="1347788"/>
            <a:ext cx="6472237" cy="36417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69B58C-C4AF-47C5-91B2-4AA5BA7CCFB7}" type="slidenum">
              <a:rPr lang="de-CH" smtClean="0"/>
              <a:t>9</a:t>
            </a:fld>
            <a:endParaRPr lang="de-CH"/>
          </a:p>
        </p:txBody>
      </p:sp>
      <p:sp>
        <p:nvSpPr>
          <p:cNvPr id="5" name="Kopfzeilenplatzhalt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de-CH"/>
              <a:t>DigiMig - Das Forschungsprojekt zur Migration der digitalen Radionutzung</a:t>
            </a:r>
          </a:p>
        </p:txBody>
      </p:sp>
    </p:spTree>
    <p:extLst>
      <p:ext uri="{BB962C8B-B14F-4D97-AF65-F5344CB8AC3E}">
        <p14:creationId xmlns:p14="http://schemas.microsoft.com/office/powerpoint/2010/main" val="24235407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42597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BA2D0E-B632-4759-88B4-866A6D19A2C4}" type="datetime1">
              <a:rPr lang="de-CH" smtClean="0"/>
              <a:t>05.02.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DIGIMIG - das Forschungsprojekt zur digitalen Migration der Radionutzung in der Schweiz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0A0F4-21D5-4FB4-9486-6D4A5D566AB5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51404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8F2907-3A0C-4A46-9F39-5E0A0B1A1244}" type="datetime1">
              <a:rPr lang="de-CH" smtClean="0"/>
              <a:t>05.02.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DIGIMIG - das Forschungsprojekt zur digitalen Migration der Radionutzung in der Schweiz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0A0F4-21D5-4FB4-9486-6D4A5D566AB5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300709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31800" y="2372784"/>
            <a:ext cx="11328401" cy="1344257"/>
          </a:xfrm>
        </p:spPr>
        <p:txBody>
          <a:bodyPr anchor="b"/>
          <a:lstStyle>
            <a:lvl1pPr>
              <a:defRPr sz="4800" b="0" cap="none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1799" y="3813054"/>
            <a:ext cx="11328403" cy="1535764"/>
          </a:xfrm>
        </p:spPr>
        <p:txBody>
          <a:bodyPr/>
          <a:lstStyle>
            <a:lvl1pPr marL="0" indent="0" algn="l">
              <a:spcBef>
                <a:spcPts val="800"/>
              </a:spcBef>
              <a:spcAft>
                <a:spcPts val="0"/>
              </a:spcAft>
              <a:buNone/>
              <a:defRPr sz="2667" baseline="0">
                <a:solidFill>
                  <a:schemeClr val="tx2"/>
                </a:solidFill>
              </a:defRPr>
            </a:lvl1pPr>
            <a:lvl2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2pPr>
            <a:lvl3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3pPr>
            <a:lvl4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4pPr>
            <a:lvl5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5pPr>
            <a:lvl6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6pPr>
            <a:lvl7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8pPr>
            <a:lvl9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0" y="6570171"/>
            <a:ext cx="12192000" cy="28782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2133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800" y="6117413"/>
            <a:ext cx="11328400" cy="288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11514103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431213" y="1316707"/>
            <a:ext cx="11328987" cy="5280943"/>
          </a:xfrm>
        </p:spPr>
        <p:txBody>
          <a:bodyPr/>
          <a:lstStyle/>
          <a:p>
            <a:r>
              <a:rPr lang="en-US" dirty="0"/>
              <a:t>Click to the symbol to add a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23240" y="2372785"/>
            <a:ext cx="10945520" cy="1344257"/>
          </a:xfrm>
        </p:spPr>
        <p:txBody>
          <a:bodyPr anchor="b"/>
          <a:lstStyle>
            <a:lvl1pPr>
              <a:defRPr sz="48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22495" y="3813054"/>
            <a:ext cx="10946245" cy="1536213"/>
          </a:xfrm>
        </p:spPr>
        <p:txBody>
          <a:bodyPr/>
          <a:lstStyle>
            <a:lvl1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1pPr>
            <a:lvl2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2pPr>
            <a:lvl3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3pPr>
            <a:lvl4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4pPr>
            <a:lvl5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5pPr>
            <a:lvl6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6pPr>
            <a:lvl7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667">
                <a:solidFill>
                  <a:schemeClr val="bg1"/>
                </a:solidFill>
              </a:defRPr>
            </a:lvl8pPr>
            <a:lvl9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6570171"/>
            <a:ext cx="12192000" cy="28782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2133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241" y="6117373"/>
            <a:ext cx="10945520" cy="288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297171430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431214" y="3429000"/>
            <a:ext cx="11329573" cy="28804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ymbol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a </a:t>
            </a:r>
            <a:r>
              <a:rPr lang="de-DE" dirty="0" err="1"/>
              <a:t>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31214" y="1220693"/>
            <a:ext cx="11329573" cy="1344187"/>
          </a:xfrm>
        </p:spPr>
        <p:txBody>
          <a:bodyPr anchor="b"/>
          <a:lstStyle>
            <a:lvl1pPr>
              <a:defRPr sz="48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1214" y="2660893"/>
            <a:ext cx="11329573" cy="576080"/>
          </a:xfrm>
        </p:spPr>
        <p:txBody>
          <a:bodyPr tIns="0"/>
          <a:lstStyle>
            <a:lvl1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1pPr>
            <a:lvl2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2pPr>
            <a:lvl3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3pPr>
            <a:lvl4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4pPr>
            <a:lvl5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5pPr>
            <a:lvl6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6pPr>
            <a:lvl7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667">
                <a:solidFill>
                  <a:schemeClr val="bg1"/>
                </a:solidFill>
              </a:defRPr>
            </a:lvl8pPr>
            <a:lvl9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6570171"/>
            <a:ext cx="12192000" cy="28782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2133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371" y="6309400"/>
            <a:ext cx="11328829" cy="288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25653750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479988" indent="-479988">
              <a:spcBef>
                <a:spcPts val="16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11327717" algn="r"/>
              </a:tabLst>
              <a:defRPr sz="2400">
                <a:solidFill>
                  <a:schemeClr val="tx1"/>
                </a:solidFill>
              </a:defRPr>
            </a:lvl1pPr>
            <a:lvl2pPr marL="478355" indent="0">
              <a:spcBef>
                <a:spcPts val="1600"/>
              </a:spcBef>
              <a:spcAft>
                <a:spcPts val="0"/>
              </a:spcAft>
              <a:buClr>
                <a:schemeClr val="bg2"/>
              </a:buClr>
              <a:buFont typeface="+mj-lt"/>
              <a:buNone/>
              <a:tabLst>
                <a:tab pos="11039724" algn="r"/>
              </a:tabLst>
              <a:defRPr sz="2400">
                <a:solidFill>
                  <a:schemeClr val="bg2"/>
                </a:solidFill>
              </a:defRPr>
            </a:lvl2pPr>
            <a:lvl3pPr marL="479988" indent="0">
              <a:spcBef>
                <a:spcPts val="1600"/>
              </a:spcBef>
              <a:spcAft>
                <a:spcPts val="0"/>
              </a:spcAft>
              <a:buFontTx/>
              <a:buNone/>
              <a:defRPr sz="2400">
                <a:solidFill>
                  <a:schemeClr val="bg2"/>
                </a:solidFill>
              </a:defRPr>
            </a:lvl3pPr>
            <a:lvl4pPr marL="479988" indent="0">
              <a:spcBef>
                <a:spcPts val="1600"/>
              </a:spcBef>
              <a:spcAft>
                <a:spcPts val="0"/>
              </a:spcAft>
              <a:buFontTx/>
              <a:buNone/>
              <a:defRPr sz="2400">
                <a:solidFill>
                  <a:schemeClr val="bg2"/>
                </a:solidFill>
              </a:defRPr>
            </a:lvl4pPr>
            <a:lvl5pPr marL="479988" indent="0">
              <a:spcBef>
                <a:spcPts val="1600"/>
              </a:spcBef>
              <a:spcAft>
                <a:spcPts val="0"/>
              </a:spcAft>
              <a:buFontTx/>
              <a:buNone/>
              <a:defRPr sz="2400">
                <a:solidFill>
                  <a:schemeClr val="bg2"/>
                </a:solidFill>
              </a:defRPr>
            </a:lvl5pPr>
            <a:lvl6pPr marL="479988" indent="0">
              <a:spcBef>
                <a:spcPts val="1600"/>
              </a:spcBef>
              <a:spcAft>
                <a:spcPts val="0"/>
              </a:spcAft>
              <a:buFontTx/>
              <a:buNone/>
              <a:defRPr sz="2400">
                <a:solidFill>
                  <a:schemeClr val="bg2"/>
                </a:solidFill>
              </a:defRPr>
            </a:lvl6pPr>
            <a:lvl7pPr marL="479988" indent="0">
              <a:spcBef>
                <a:spcPts val="1600"/>
              </a:spcBef>
              <a:spcAft>
                <a:spcPts val="0"/>
              </a:spcAft>
              <a:buFontTx/>
              <a:buNone/>
              <a:defRPr sz="2400">
                <a:solidFill>
                  <a:schemeClr val="bg2"/>
                </a:solidFill>
              </a:defRPr>
            </a:lvl7pPr>
            <a:lvl8pPr marL="479988" indent="0">
              <a:spcBef>
                <a:spcPts val="1600"/>
              </a:spcBef>
              <a:spcAft>
                <a:spcPts val="0"/>
              </a:spcAft>
              <a:buFontTx/>
              <a:buNone/>
              <a:defRPr sz="2400">
                <a:solidFill>
                  <a:schemeClr val="bg2"/>
                </a:solidFill>
              </a:defRPr>
            </a:lvl8pPr>
            <a:lvl9pPr marL="479988" indent="0">
              <a:spcBef>
                <a:spcPts val="1600"/>
              </a:spcBef>
              <a:spcAft>
                <a:spcPts val="0"/>
              </a:spcAft>
              <a:buFontTx/>
              <a:buNone/>
              <a:defRPr sz="24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Click to add agenda</a:t>
            </a:r>
          </a:p>
        </p:txBody>
      </p:sp>
    </p:spTree>
    <p:extLst>
      <p:ext uri="{BB962C8B-B14F-4D97-AF65-F5344CB8AC3E}">
        <p14:creationId xmlns:p14="http://schemas.microsoft.com/office/powerpoint/2010/main" val="7771905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esent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31214" y="2372883"/>
            <a:ext cx="11329573" cy="1919747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4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add text for divider slide</a:t>
            </a:r>
            <a:endParaRPr lang="en-US" dirty="0"/>
          </a:p>
        </p:txBody>
      </p:sp>
      <p:sp>
        <p:nvSpPr>
          <p:cNvPr id="3" name="Rechteck 2"/>
          <p:cNvSpPr/>
          <p:nvPr userDrawn="1"/>
        </p:nvSpPr>
        <p:spPr bwMode="gray">
          <a:xfrm>
            <a:off x="0" y="1"/>
            <a:ext cx="12192000" cy="218016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2133" dirty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011435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99"/>
            <a:ext cx="12192000" cy="218006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2133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31214" y="2372784"/>
            <a:ext cx="11328557" cy="1919816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40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add text for divider slide</a:t>
            </a:r>
            <a:endParaRPr lang="en-US" dirty="0"/>
          </a:p>
        </p:txBody>
      </p:sp>
      <p:sp>
        <p:nvSpPr>
          <p:cNvPr id="59" name="Rechteck 58"/>
          <p:cNvSpPr/>
          <p:nvPr userDrawn="1"/>
        </p:nvSpPr>
        <p:spPr bwMode="gray">
          <a:xfrm>
            <a:off x="431213" y="2372883"/>
            <a:ext cx="11329512" cy="96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133" dirty="0" err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0" name="Rechteck 59"/>
          <p:cNvSpPr/>
          <p:nvPr userDrawn="1"/>
        </p:nvSpPr>
        <p:spPr bwMode="gray">
          <a:xfrm>
            <a:off x="431214" y="4197085"/>
            <a:ext cx="11328157" cy="96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133" dirty="0" err="1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89136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213" y="1220755"/>
            <a:ext cx="11328987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371" y="6404736"/>
            <a:ext cx="11328400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head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344119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7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431213" y="1700760"/>
            <a:ext cx="11328987" cy="460902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214" y="1220695"/>
            <a:ext cx="11329573" cy="38405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214" y="6404736"/>
            <a:ext cx="11328557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76329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17314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5267" y="399357"/>
            <a:ext cx="10515600" cy="387798"/>
          </a:xfrm>
        </p:spPr>
        <p:txBody>
          <a:bodyPr/>
          <a:lstStyle>
            <a:lvl1pPr>
              <a:defRPr>
                <a:solidFill>
                  <a:srgbClr val="DA1838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  <a:latin typeface="+mj-lt"/>
              </a:defRPr>
            </a:lvl2pPr>
            <a:lvl3pPr>
              <a:defRPr>
                <a:solidFill>
                  <a:schemeClr val="tx1"/>
                </a:solidFill>
                <a:latin typeface="+mj-lt"/>
              </a:defRPr>
            </a:lvl3pPr>
            <a:lvl4pPr>
              <a:defRPr>
                <a:solidFill>
                  <a:schemeClr val="tx1"/>
                </a:solidFill>
                <a:latin typeface="+mj-lt"/>
              </a:defRPr>
            </a:lvl4pPr>
            <a:lvl5pPr>
              <a:defRPr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fld id="{2DB60EB1-D9E5-4FAC-ABEA-EF17309DAB62}" type="datetime1">
              <a:rPr lang="de-CH" smtClean="0"/>
              <a:t>05.02.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638550" y="6598493"/>
            <a:ext cx="4914900" cy="15388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de-CH"/>
              <a:t>DIGIMIG - das Forschungsprojekt zur digitalen Migration der Radionutzung in der Schweiz</a:t>
            </a:r>
            <a:endParaRPr lang="de-CH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fld id="{9D30A0F4-21D5-4FB4-9486-6D4A5D566AB5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85266" y="928688"/>
            <a:ext cx="11399365" cy="249299"/>
          </a:xfrm>
        </p:spPr>
        <p:txBody>
          <a:bodyPr anchor="b" anchorCtr="0">
            <a:spAutoFit/>
          </a:bodyPr>
          <a:lstStyle>
            <a:lvl1pPr>
              <a:defRPr sz="1800" b="1">
                <a:solidFill>
                  <a:srgbClr val="DA1838"/>
                </a:solidFill>
                <a:latin typeface="+mj-lt"/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93671847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213" y="1220755"/>
            <a:ext cx="11328987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371" y="6404736"/>
            <a:ext cx="11328400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431215" y="1700760"/>
            <a:ext cx="5568773" cy="460902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6192014" y="1700760"/>
            <a:ext cx="5568773" cy="460902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2543737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214" y="1220694"/>
            <a:ext cx="11329573" cy="3840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371" y="6404736"/>
            <a:ext cx="11328400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431214" y="1700760"/>
            <a:ext cx="3647604" cy="460902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4271746" y="1701800"/>
            <a:ext cx="3648508" cy="460798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 hasCustomPrompt="1"/>
          </p:nvPr>
        </p:nvSpPr>
        <p:spPr>
          <a:xfrm>
            <a:off x="8112280" y="1701800"/>
            <a:ext cx="3648507" cy="460798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8319474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1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431215" y="1700760"/>
            <a:ext cx="2688373" cy="460902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3311615" y="1700760"/>
            <a:ext cx="2688372" cy="460798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 hasCustomPrompt="1"/>
          </p:nvPr>
        </p:nvSpPr>
        <p:spPr>
          <a:xfrm>
            <a:off x="6192014" y="1700760"/>
            <a:ext cx="2688373" cy="460694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9072414" y="1700760"/>
            <a:ext cx="2688373" cy="460590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213" y="1220755"/>
            <a:ext cx="11328987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371" y="6404736"/>
            <a:ext cx="11328400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66063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213" y="1220755"/>
            <a:ext cx="11328987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371" y="6404736"/>
            <a:ext cx="11328400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431215" y="1700760"/>
            <a:ext cx="5568773" cy="2208307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6192014" y="1700760"/>
            <a:ext cx="5568773" cy="2208307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431215" y="4101093"/>
            <a:ext cx="5568773" cy="2208307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6192014" y="4101093"/>
            <a:ext cx="5568773" cy="2208307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47185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400"/>
              </a:spcBef>
              <a:buFont typeface="Courier New" pitchFamily="49" charset="0"/>
              <a:buNone/>
            </a:pPr>
            <a:endParaRPr lang="en-US" sz="2133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808437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Whit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2133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31801" y="1221319"/>
            <a:ext cx="11328399" cy="2685635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4800" cap="none" baseline="0">
                <a:solidFill>
                  <a:schemeClr val="tx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41940932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Black and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2133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31802" y="1221319"/>
            <a:ext cx="11328399" cy="2688168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48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05360441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Oran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431801" y="1221318"/>
            <a:ext cx="11328400" cy="2688167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48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01198786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  <a:endParaRPr lang="en-US" dirty="0"/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800" y="1220755"/>
            <a:ext cx="11328400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431371" y="1700810"/>
            <a:ext cx="1728192" cy="22082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351586" y="3046305"/>
            <a:ext cx="3648404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2351584" y="2470241"/>
            <a:ext cx="3648405" cy="576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351584" y="1701800"/>
            <a:ext cx="3648405" cy="76844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867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351584" y="3334336"/>
            <a:ext cx="3648405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351690" y="3622368"/>
            <a:ext cx="3648301" cy="28668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6192971" y="1701800"/>
            <a:ext cx="1728192" cy="220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8113186" y="3046305"/>
            <a:ext cx="3648404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113184" y="2470241"/>
            <a:ext cx="3648405" cy="576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8113184" y="1702432"/>
            <a:ext cx="3648405" cy="768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867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113184" y="3334336"/>
            <a:ext cx="3648405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113290" y="3622368"/>
            <a:ext cx="3648301" cy="28668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country]</a:t>
            </a:r>
          </a:p>
        </p:txBody>
      </p:sp>
    </p:spTree>
    <p:extLst>
      <p:ext uri="{BB962C8B-B14F-4D97-AF65-F5344CB8AC3E}">
        <p14:creationId xmlns:p14="http://schemas.microsoft.com/office/powerpoint/2010/main" val="26811339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  <a:endParaRPr lang="en-US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31371" y="4101320"/>
            <a:ext cx="1728192" cy="220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351586" y="5445305"/>
            <a:ext cx="3648404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351584" y="4869241"/>
            <a:ext cx="3648405" cy="576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2351584" y="5733336"/>
            <a:ext cx="3648405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351690" y="6021368"/>
            <a:ext cx="3648301" cy="28668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6192971" y="4101320"/>
            <a:ext cx="1728192" cy="220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8113186" y="5445305"/>
            <a:ext cx="3648404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8113184" y="4869241"/>
            <a:ext cx="3648405" cy="576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8113184" y="5733336"/>
            <a:ext cx="3648405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8113290" y="6021368"/>
            <a:ext cx="3648301" cy="28668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431371" y="1700810"/>
            <a:ext cx="1728192" cy="22082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351586" y="3046305"/>
            <a:ext cx="3648404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2351584" y="2470241"/>
            <a:ext cx="3648405" cy="576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351584" y="3334336"/>
            <a:ext cx="3648405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351690" y="3622368"/>
            <a:ext cx="3648301" cy="28668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9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6192971" y="1701800"/>
            <a:ext cx="1728192" cy="220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8113186" y="3046305"/>
            <a:ext cx="3648404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113184" y="2470241"/>
            <a:ext cx="3648405" cy="576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113184" y="3334336"/>
            <a:ext cx="3648405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113290" y="3622368"/>
            <a:ext cx="3648301" cy="28668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45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800" y="1220755"/>
            <a:ext cx="11328400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351584" y="1701800"/>
            <a:ext cx="3648405" cy="76844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867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8113184" y="1702432"/>
            <a:ext cx="3648405" cy="768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867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2351584" y="4101093"/>
            <a:ext cx="3648405" cy="76844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867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[name]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113184" y="4101725"/>
            <a:ext cx="3648405" cy="768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867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</p:spTree>
    <p:extLst>
      <p:ext uri="{BB962C8B-B14F-4D97-AF65-F5344CB8AC3E}">
        <p14:creationId xmlns:p14="http://schemas.microsoft.com/office/powerpoint/2010/main" val="10843047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2CDD11-6646-48AA-AAD7-3B9F192E772A}" type="datetime1">
              <a:rPr lang="de-CH" smtClean="0"/>
              <a:t>05.02.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DIGIMIG - das Forschungsprojekt zur digitalen Migration der Radionutzung in der Schweiz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0A0F4-21D5-4FB4-9486-6D4A5D566AB5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0205692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431214" y="1316567"/>
            <a:ext cx="11329573" cy="2592917"/>
          </a:xfrm>
        </p:spPr>
        <p:txBody>
          <a:bodyPr anchor="b"/>
          <a:lstStyle>
            <a:lvl1pPr>
              <a:defRPr sz="4800" cap="none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/>
              <a:t>Thank you</a:t>
            </a:r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371" y="6309408"/>
            <a:ext cx="11329259" cy="288032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244529359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800" y="6453189"/>
            <a:ext cx="11328400" cy="144463"/>
          </a:xfrm>
        </p:spPr>
        <p:txBody>
          <a:bodyPr tIns="0" bIns="36000" anchor="b" anchorCtr="0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/>
              <a:t>[Source information]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83164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D32819-B5ED-4601-837D-C41F17025A9C}" type="datetime1">
              <a:rPr lang="de-CH" smtClean="0"/>
              <a:t>05.02.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DIGIMIG - das Forschungsprojekt zur digitalen Migration der Radionutzung in der Schweiz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0A0F4-21D5-4FB4-9486-6D4A5D566AB5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702395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DFA1A6-D848-44E3-9FE7-21BD71BE358E}" type="datetime1">
              <a:rPr lang="de-CH" smtClean="0"/>
              <a:t>05.02.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DIGIMIG - das Forschungsprojekt zur digitalen Migration der Radionutzung in der Schweiz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0A0F4-21D5-4FB4-9486-6D4A5D566AB5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14319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159913-00F3-409E-A56D-34239D622544}" type="datetime1">
              <a:rPr lang="de-CH" smtClean="0"/>
              <a:t>05.02.2024</a:t>
            </a:fld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DIGIMIG - das Forschungsprojekt zur digitalen Migration der Radionutzung in der Schweiz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0A0F4-21D5-4FB4-9486-6D4A5D566AB5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251514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87A8F8-E001-454F-A01E-20BED19CE302}" type="datetime1">
              <a:rPr lang="de-CH" smtClean="0"/>
              <a:t>05.02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DIGIMIG - das Forschungsprojekt zur digitalen Migration der Radionutzung in der Schweiz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0A0F4-21D5-4FB4-9486-6D4A5D566AB5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590609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11897A-E516-458A-8646-4E6CC134B504}" type="datetime1">
              <a:rPr lang="de-CH" smtClean="0"/>
              <a:t>05.02.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DIGIMIG - das Forschungsprojekt zur digitalen Migration der Radionutzung in der Schweiz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0A0F4-21D5-4FB4-9486-6D4A5D566AB5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38343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9E57-F5FF-4835-AD23-F5C23A2B2327}" type="datetime1">
              <a:rPr lang="de-CH" smtClean="0"/>
              <a:t>05.02.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DIGIMIG - das Forschungsprojekt zur digitalen Migration der Radionutzung in der Schweiz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0A0F4-21D5-4FB4-9486-6D4A5D566AB5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646782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oleObject" Target="../embeddings/oleObject3.bin"/><Relationship Id="rId3" Type="http://schemas.openxmlformats.org/officeDocument/2006/relationships/slideLayout" Target="../slideLayouts/slideLayout14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tags" Target="../tags/tag4.xml"/><Relationship Id="rId28" Type="http://schemas.openxmlformats.org/officeDocument/2006/relationships/image" Target="../media/image3.wmf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vmlDrawing" Target="../drawings/vmlDrawing3.vml"/><Relationship Id="rId27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8659083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5" name="think-cell Folie" r:id="rId15" imgW="270" imgH="270" progId="TCLayout.ActiveDocument.1">
                  <p:embed/>
                </p:oleObj>
              </mc:Choice>
              <mc:Fallback>
                <p:oleObj name="think-cell Folie" r:id="rId15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85266" y="399357"/>
            <a:ext cx="11327357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e-DE" dirty="0"/>
              <a:t>Titelmasterformat durch Klicken bearbeiten</a:t>
            </a:r>
            <a:endParaRPr lang="de-CH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85267" y="1492250"/>
            <a:ext cx="11327356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385267" y="6598493"/>
            <a:ext cx="27432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E416F7-0B0D-450F-A33D-7A59DF727823}" type="datetime1">
              <a:rPr lang="de-CH" smtClean="0"/>
              <a:t>05.02.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740150" y="6598493"/>
            <a:ext cx="47117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CH" dirty="0"/>
              <a:t>DIGIMIG - das Forschungsprojekt zur digitalen Migration der Radionutzung in der Schweiz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969423" y="6598493"/>
            <a:ext cx="27432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30A0F4-21D5-4FB4-9486-6D4A5D566AB5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49102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rgbClr val="DA1838"/>
          </a:solidFill>
          <a:latin typeface="Cambria" panose="02040503050406030204" pitchFamily="18" charset="0"/>
          <a:ea typeface="Cambria" panose="02040503050406030204" pitchFamily="18" charset="0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1950" indent="-180975" algn="l" defTabSz="914400" rtl="0" eaLnBrk="1" latinLnBrk="0" hangingPunct="1">
        <a:lnSpc>
          <a:spcPct val="90000"/>
        </a:lnSpc>
        <a:spcBef>
          <a:spcPts val="5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2925" indent="-180975" algn="l" defTabSz="914400" rtl="0" eaLnBrk="1" latinLnBrk="0" hangingPunct="1">
        <a:lnSpc>
          <a:spcPct val="90000"/>
        </a:lnSpc>
        <a:spcBef>
          <a:spcPts val="500"/>
        </a:spcBef>
        <a:buFont typeface="Calibri" panose="020F0502020204030204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145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3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3" name="think-cell Folie" r:id="rId26" imgW="353" imgH="353" progId="TCLayout.ActiveDocument.1">
                  <p:embed/>
                </p:oleObj>
              </mc:Choice>
              <mc:Fallback>
                <p:oleObj name="think-cell Folie" r:id="rId26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31216" y="260560"/>
            <a:ext cx="8545185" cy="76810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4"/>
            </p:custDataLst>
          </p:nvPr>
        </p:nvSpPr>
        <p:spPr bwMode="gray">
          <a:xfrm>
            <a:off x="431214" y="1220695"/>
            <a:ext cx="11329573" cy="5088707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grpSp>
        <p:nvGrpSpPr>
          <p:cNvPr id="15" name="Gruppieren 14"/>
          <p:cNvGrpSpPr/>
          <p:nvPr userDrawn="1"/>
        </p:nvGrpSpPr>
        <p:grpSpPr bwMode="gray">
          <a:xfrm>
            <a:off x="431800" y="-420693"/>
            <a:ext cx="11328987" cy="28804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431800" y="6981493"/>
            <a:ext cx="11328987" cy="28804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 userDrawn="1"/>
        </p:nvGrpSpPr>
        <p:grpSpPr bwMode="gray">
          <a:xfrm>
            <a:off x="12336686" y="260648"/>
            <a:ext cx="288221" cy="6336792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432907" y="260648"/>
            <a:ext cx="288221" cy="6336792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10033000" y="6597440"/>
            <a:ext cx="1727787" cy="1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1067" smtClean="0">
                <a:solidFill>
                  <a:schemeClr val="bg2"/>
                </a:solidFill>
                <a:latin typeface="Arial" pitchFamily="34" charset="0"/>
              </a:rPr>
              <a:t>‹Nr.›</a:t>
            </a:fld>
            <a:endParaRPr lang="en-US" sz="1067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79" name="Rechteck 13"/>
          <p:cNvSpPr/>
          <p:nvPr/>
        </p:nvSpPr>
        <p:spPr bwMode="gray">
          <a:xfrm>
            <a:off x="432520" y="6597440"/>
            <a:ext cx="9408000" cy="1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en-US" sz="1067" noProof="0" dirty="0">
                <a:solidFill>
                  <a:schemeClr val="bg2"/>
                </a:solidFill>
                <a:latin typeface="Arial" pitchFamily="34" charset="0"/>
              </a:rPr>
              <a:t>© GfK 2017</a:t>
            </a:r>
          </a:p>
        </p:txBody>
      </p:sp>
      <p:pic>
        <p:nvPicPr>
          <p:cNvPr id="80" name="Grafik 75"/>
          <p:cNvPicPr>
            <a:picLocks noChangeAspect="1"/>
          </p:cNvPicPr>
          <p:nvPr/>
        </p:nvPicPr>
        <p:blipFill>
          <a:blip r:embed="rId2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992254" y="260560"/>
            <a:ext cx="770129" cy="768000"/>
          </a:xfrm>
          <a:prstGeom prst="rect">
            <a:avLst/>
          </a:prstGeom>
        </p:spPr>
      </p:pic>
      <p:sp>
        <p:nvSpPr>
          <p:cNvPr id="4" name="VCT_Marker_ID_4" hidden="1"/>
          <p:cNvSpPr/>
          <p:nvPr userDrawn="1">
            <p:custDataLst>
              <p:tags r:id="rId25"/>
            </p:custDataLst>
          </p:nvPr>
        </p:nvSpPr>
        <p:spPr bwMode="gray">
          <a:xfrm>
            <a:off x="1693334" y="169334"/>
            <a:ext cx="169333" cy="16933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400"/>
              </a:spcBef>
              <a:buFont typeface="Courier New" pitchFamily="49" charset="0"/>
              <a:buNone/>
            </a:pPr>
            <a:endParaRPr lang="de-DE" sz="2133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2492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</p:sldLayoutIdLst>
  <p:hf hdr="0" dt="0"/>
  <p:txStyles>
    <p:titleStyle>
      <a:lvl1pPr algn="l" defTabSz="1219170" rtl="0" eaLnBrk="1" latinLnBrk="0" hangingPunct="1">
        <a:spcBef>
          <a:spcPct val="0"/>
        </a:spcBef>
        <a:buNone/>
        <a:defRPr sz="24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121917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Arial" pitchFamily="34" charset="0"/>
        <a:buNone/>
        <a:tabLst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239994" marR="0" indent="-239994" algn="l" defTabSz="121917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79988" marR="0" indent="-241294" algn="l" defTabSz="121917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719982" marR="0" indent="-241294" algn="l" defTabSz="121917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959976" marR="0" indent="-241294" algn="l" defTabSz="121917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959976" marR="0" indent="-241294" algn="l" defTabSz="121917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959976" marR="0" indent="-241294" algn="l" defTabSz="121917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719982" indent="-239994" algn="l" defTabSz="1219170" rtl="0" eaLnBrk="1" latinLnBrk="0" hangingPunct="1">
        <a:spcBef>
          <a:spcPts val="400"/>
        </a:spcBef>
        <a:spcAft>
          <a:spcPts val="0"/>
        </a:spcAft>
        <a:buFont typeface="Arial" pitchFamily="34" charset="0"/>
        <a:buChar char="•"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959976" marR="0" indent="-241294" algn="l" defTabSz="121917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9.png"/><Relationship Id="rId12" Type="http://schemas.microsoft.com/office/2007/relationships/hdphoto" Target="../media/hdphoto12.wdp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8.emf"/><Relationship Id="rId11" Type="http://schemas.openxmlformats.org/officeDocument/2006/relationships/image" Target="../media/image32.png"/><Relationship Id="rId5" Type="http://schemas.openxmlformats.org/officeDocument/2006/relationships/oleObject" Target="../embeddings/oleObject14.bin"/><Relationship Id="rId10" Type="http://schemas.microsoft.com/office/2007/relationships/hdphoto" Target="../media/hdphoto13.wdp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31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.xml"/><Relationship Id="rId7" Type="http://schemas.openxmlformats.org/officeDocument/2006/relationships/oleObject" Target="../embeddings/oleObject6.bin"/><Relationship Id="rId12" Type="http://schemas.openxmlformats.org/officeDocument/2006/relationships/image" Target="../media/image8.pn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chart" Target="../charts/chart1.xml"/><Relationship Id="rId11" Type="http://schemas.microsoft.com/office/2007/relationships/hdphoto" Target="../media/hdphoto1.wdp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13" Type="http://schemas.openxmlformats.org/officeDocument/2006/relationships/image" Target="../media/image9.png"/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12" Type="http://schemas.openxmlformats.org/officeDocument/2006/relationships/image" Target="../media/image8.png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11" Type="http://schemas.microsoft.com/office/2007/relationships/hdphoto" Target="../media/hdphoto1.wdp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png"/><Relationship Id="rId14" Type="http://schemas.openxmlformats.org/officeDocument/2006/relationships/image" Target="../media/image10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13" Type="http://schemas.openxmlformats.org/officeDocument/2006/relationships/image" Target="../media/image13.png"/><Relationship Id="rId3" Type="http://schemas.openxmlformats.org/officeDocument/2006/relationships/tags" Target="../tags/tag14.xml"/><Relationship Id="rId7" Type="http://schemas.openxmlformats.org/officeDocument/2006/relationships/chart" Target="../charts/chart4.xml"/><Relationship Id="rId12" Type="http://schemas.openxmlformats.org/officeDocument/2006/relationships/image" Target="../media/image12.png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chart" Target="../charts/chart3.xml"/><Relationship Id="rId11" Type="http://schemas.openxmlformats.org/officeDocument/2006/relationships/image" Target="../media/image11.png"/><Relationship Id="rId5" Type="http://schemas.openxmlformats.org/officeDocument/2006/relationships/notesSlide" Target="../notesSlides/notesSlide4.xml"/><Relationship Id="rId15" Type="http://schemas.microsoft.com/office/2007/relationships/hdphoto" Target="../media/hdphoto2.wdp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2.xml"/><Relationship Id="rId9" Type="http://schemas.openxmlformats.org/officeDocument/2006/relationships/oleObject" Target="../embeddings/oleObject8.bin"/><Relationship Id="rId1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13" Type="http://schemas.openxmlformats.org/officeDocument/2006/relationships/image" Target="../media/image16.png"/><Relationship Id="rId18" Type="http://schemas.microsoft.com/office/2007/relationships/hdphoto" Target="../media/hdphoto2.wdp"/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12" Type="http://schemas.microsoft.com/office/2007/relationships/hdphoto" Target="../media/hdphoto3.wdp"/><Relationship Id="rId17" Type="http://schemas.openxmlformats.org/officeDocument/2006/relationships/image" Target="../media/image14.png"/><Relationship Id="rId2" Type="http://schemas.openxmlformats.org/officeDocument/2006/relationships/tags" Target="../tags/tag15.xml"/><Relationship Id="rId16" Type="http://schemas.microsoft.com/office/2007/relationships/hdphoto" Target="../media/hdphoto5.wdp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11" Type="http://schemas.openxmlformats.org/officeDocument/2006/relationships/image" Target="../media/image15.png"/><Relationship Id="rId5" Type="http://schemas.openxmlformats.org/officeDocument/2006/relationships/notesSlide" Target="../notesSlides/notesSlide5.xml"/><Relationship Id="rId15" Type="http://schemas.openxmlformats.org/officeDocument/2006/relationships/image" Target="../media/image17.png"/><Relationship Id="rId10" Type="http://schemas.openxmlformats.org/officeDocument/2006/relationships/chart" Target="../charts/chart8.xml"/><Relationship Id="rId4" Type="http://schemas.openxmlformats.org/officeDocument/2006/relationships/slideLayout" Target="../slideLayouts/slideLayout2.xml"/><Relationship Id="rId9" Type="http://schemas.openxmlformats.org/officeDocument/2006/relationships/chart" Target="../charts/chart7.xml"/><Relationship Id="rId14" Type="http://schemas.microsoft.com/office/2007/relationships/hdphoto" Target="../media/hdphoto4.wdp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8.png"/><Relationship Id="rId12" Type="http://schemas.microsoft.com/office/2007/relationships/hdphoto" Target="../media/hdphoto7.wdp"/><Relationship Id="rId17" Type="http://schemas.openxmlformats.org/officeDocument/2006/relationships/chart" Target="../charts/chart9.xml"/><Relationship Id="rId2" Type="http://schemas.openxmlformats.org/officeDocument/2006/relationships/tags" Target="../tags/tag17.xml"/><Relationship Id="rId16" Type="http://schemas.microsoft.com/office/2007/relationships/hdphoto" Target="../media/hdphoto9.wdp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11" Type="http://schemas.openxmlformats.org/officeDocument/2006/relationships/image" Target="../media/image21.png"/><Relationship Id="rId5" Type="http://schemas.openxmlformats.org/officeDocument/2006/relationships/oleObject" Target="../embeddings/oleObject10.bin"/><Relationship Id="rId15" Type="http://schemas.openxmlformats.org/officeDocument/2006/relationships/image" Target="../media/image23.png"/><Relationship Id="rId10" Type="http://schemas.microsoft.com/office/2007/relationships/hdphoto" Target="../media/hdphoto6.wdp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20.png"/><Relationship Id="rId14" Type="http://schemas.microsoft.com/office/2007/relationships/hdphoto" Target="../media/hdphoto8.wdp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8.png"/><Relationship Id="rId18" Type="http://schemas.microsoft.com/office/2007/relationships/hdphoto" Target="../media/hdphoto6.wdp"/><Relationship Id="rId3" Type="http://schemas.openxmlformats.org/officeDocument/2006/relationships/slideLayout" Target="../slideLayouts/slideLayout2.xml"/><Relationship Id="rId21" Type="http://schemas.openxmlformats.org/officeDocument/2006/relationships/image" Target="../media/image22.png"/><Relationship Id="rId7" Type="http://schemas.openxmlformats.org/officeDocument/2006/relationships/image" Target="../media/image1.emf"/><Relationship Id="rId12" Type="http://schemas.microsoft.com/office/2007/relationships/hdphoto" Target="../media/hdphoto9.wdp"/><Relationship Id="rId17" Type="http://schemas.openxmlformats.org/officeDocument/2006/relationships/image" Target="../media/image20.png"/><Relationship Id="rId2" Type="http://schemas.openxmlformats.org/officeDocument/2006/relationships/tags" Target="../tags/tag18.xml"/><Relationship Id="rId16" Type="http://schemas.openxmlformats.org/officeDocument/2006/relationships/image" Target="../media/image19.png"/><Relationship Id="rId20" Type="http://schemas.microsoft.com/office/2007/relationships/hdphoto" Target="../media/hdphoto7.wdp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11" Type="http://schemas.openxmlformats.org/officeDocument/2006/relationships/image" Target="../media/image23.png"/><Relationship Id="rId5" Type="http://schemas.openxmlformats.org/officeDocument/2006/relationships/chart" Target="../charts/chart10.xml"/><Relationship Id="rId15" Type="http://schemas.openxmlformats.org/officeDocument/2006/relationships/image" Target="../media/image18.png"/><Relationship Id="rId10" Type="http://schemas.openxmlformats.org/officeDocument/2006/relationships/image" Target="../media/image25.png"/><Relationship Id="rId19" Type="http://schemas.openxmlformats.org/officeDocument/2006/relationships/image" Target="../media/image21.png"/><Relationship Id="rId4" Type="http://schemas.openxmlformats.org/officeDocument/2006/relationships/notesSlide" Target="../notesSlides/notesSlide7.xml"/><Relationship Id="rId9" Type="http://schemas.microsoft.com/office/2007/relationships/hdphoto" Target="../media/hdphoto10.wdp"/><Relationship Id="rId14" Type="http://schemas.openxmlformats.org/officeDocument/2006/relationships/chart" Target="../charts/chart11.xml"/><Relationship Id="rId22" Type="http://schemas.microsoft.com/office/2007/relationships/hdphoto" Target="../media/hdphoto8.wdp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20.xml"/><Relationship Id="rId7" Type="http://schemas.openxmlformats.org/officeDocument/2006/relationships/image" Target="../media/image1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11" Type="http://schemas.microsoft.com/office/2007/relationships/hdphoto" Target="../media/hdphoto12.wdp"/><Relationship Id="rId5" Type="http://schemas.openxmlformats.org/officeDocument/2006/relationships/notesSlide" Target="../notesSlides/notesSlide8.xml"/><Relationship Id="rId10" Type="http://schemas.openxmlformats.org/officeDocument/2006/relationships/image" Target="../media/image27.png"/><Relationship Id="rId4" Type="http://schemas.openxmlformats.org/officeDocument/2006/relationships/slideLayout" Target="../slideLayouts/slideLayout2.xml"/><Relationship Id="rId9" Type="http://schemas.microsoft.com/office/2007/relationships/hdphoto" Target="../media/hdphoto11.wdp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chart" Target="../charts/chart12.xml"/><Relationship Id="rId4" Type="http://schemas.openxmlformats.org/officeDocument/2006/relationships/notesSlide" Target="../notesSlides/notesSlide9.xml"/><Relationship Id="rId9" Type="http://schemas.microsoft.com/office/2007/relationships/hdphoto" Target="../media/hdphoto1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346" name="Picture 2" descr="Bildergebnis fÃ¼r radio listener">
            <a:extLst>
              <a:ext uri="{FF2B5EF4-FFF2-40B4-BE49-F238E27FC236}">
                <a16:creationId xmlns:a16="http://schemas.microsoft.com/office/drawing/2014/main" id="{9CCDF6FC-9AD7-4AA5-B3B5-A836887F0AB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199" b="1983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Foliennummernplatzhalter 14"/>
          <p:cNvSpPr>
            <a:spLocks noGrp="1"/>
          </p:cNvSpPr>
          <p:nvPr>
            <p:ph type="sldNum" sz="quarter" idx="4294967295"/>
          </p:nvPr>
        </p:nvSpPr>
        <p:spPr>
          <a:xfrm>
            <a:off x="8969423" y="6598493"/>
            <a:ext cx="2743200" cy="153888"/>
          </a:xfrm>
        </p:spPr>
        <p:txBody>
          <a:bodyPr/>
          <a:lstStyle/>
          <a:p>
            <a:r>
              <a:rPr lang="de-CH" dirty="0">
                <a:solidFill>
                  <a:schemeClr val="bg1">
                    <a:lumMod val="65000"/>
                  </a:schemeClr>
                </a:solidFill>
              </a:rPr>
              <a:t>V1.0 – 5.7.2022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091A46C-6B0B-4E79-878B-0F78F900A3AB}"/>
              </a:ext>
            </a:extLst>
          </p:cNvPr>
          <p:cNvSpPr/>
          <p:nvPr/>
        </p:nvSpPr>
        <p:spPr>
          <a:xfrm>
            <a:off x="299356" y="260078"/>
            <a:ext cx="11593288" cy="6337845"/>
          </a:xfrm>
          <a:prstGeom prst="rect">
            <a:avLst/>
          </a:prstGeom>
          <a:solidFill>
            <a:schemeClr val="bg1">
              <a:alpha val="44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B854235D-E934-4834-82B8-E68ABD0F4CEF}"/>
              </a:ext>
            </a:extLst>
          </p:cNvPr>
          <p:cNvSpPr/>
          <p:nvPr/>
        </p:nvSpPr>
        <p:spPr>
          <a:xfrm>
            <a:off x="1274106" y="2348879"/>
            <a:ext cx="9643789" cy="2232249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3200" b="1" dirty="0">
                <a:solidFill>
                  <a:srgbClr val="DA1838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DIGITAL RADIO USE IN SWITZERLAND</a:t>
            </a:r>
            <a:br>
              <a:rPr lang="en-GB" sz="4000" b="1" dirty="0">
                <a:solidFill>
                  <a:srgbClr val="DA1838"/>
                </a:solidFill>
                <a:latin typeface="+mj-lt"/>
              </a:rPr>
            </a:br>
            <a:r>
              <a:rPr lang="en-GB" sz="2800" dirty="0">
                <a:solidFill>
                  <a:srgbClr val="DA1838"/>
                </a:solidFill>
                <a:latin typeface="+mj-lt"/>
              </a:rPr>
              <a:t>Trend analysis autumn 2023</a:t>
            </a:r>
            <a:br>
              <a:rPr lang="en-GB" sz="2800" dirty="0">
                <a:latin typeface="+mj-lt"/>
              </a:rPr>
            </a:br>
            <a:br>
              <a:rPr lang="en-GB" sz="105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</a:br>
            <a:r>
              <a:rPr lang="en-GB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Digital Migration Working Group, Moritz Büchi</a:t>
            </a:r>
            <a:endParaRPr lang="en-GB" sz="2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664422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3E4CC7D-6A17-45D7-ABDC-96393B03E0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7" name="think-cell Folie" r:id="rId5" imgW="347" imgH="348" progId="TCLayout.ActiveDocument.1">
                  <p:embed/>
                </p:oleObj>
              </mc:Choice>
              <mc:Fallback>
                <p:oleObj name="think-cell Folie" r:id="rId5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3E4CC7D-6A17-45D7-ABDC-96393B03E0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9" name="Ellipse 68">
            <a:extLst>
              <a:ext uri="{FF2B5EF4-FFF2-40B4-BE49-F238E27FC236}">
                <a16:creationId xmlns:a16="http://schemas.microsoft.com/office/drawing/2014/main" id="{79B824A5-ABC1-46F1-9674-36D2AC079F8D}"/>
              </a:ext>
            </a:extLst>
          </p:cNvPr>
          <p:cNvSpPr/>
          <p:nvPr/>
        </p:nvSpPr>
        <p:spPr>
          <a:xfrm>
            <a:off x="10890812" y="282575"/>
            <a:ext cx="720000" cy="720000"/>
          </a:xfrm>
          <a:prstGeom prst="ellipse">
            <a:avLst/>
          </a:prstGeom>
          <a:gradFill>
            <a:gsLst>
              <a:gs pos="100000">
                <a:srgbClr val="F5A1AF"/>
              </a:gs>
              <a:gs pos="35000">
                <a:srgbClr val="DA1838"/>
              </a:gs>
              <a:gs pos="1000">
                <a:srgbClr val="A2122A"/>
              </a:gs>
              <a:gs pos="65000">
                <a:srgbClr val="EC526C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E18C1E-C518-44FC-8499-CA04C5B7C512}" type="slidenum">
              <a:rPr lang="de-CH" smtClean="0"/>
              <a:t>10</a:t>
            </a:fld>
            <a:endParaRPr lang="de-CH" dirty="0"/>
          </a:p>
        </p:txBody>
      </p:sp>
      <p:sp>
        <p:nvSpPr>
          <p:cNvPr id="37" name="Textfeld 36"/>
          <p:cNvSpPr txBox="1"/>
          <p:nvPr/>
        </p:nvSpPr>
        <p:spPr>
          <a:xfrm>
            <a:off x="371474" y="497050"/>
            <a:ext cx="7596733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sz="6000" b="1" dirty="0">
                <a:solidFill>
                  <a:srgbClr val="E93B58"/>
                </a:solidFill>
                <a:latin typeface="Cambria" panose="02040503050406030204" pitchFamily="18" charset="0"/>
                <a:ea typeface="Cambria" panose="02040503050406030204" pitchFamily="18" charset="0"/>
                <a:cs typeface="+mj-cs"/>
              </a:rPr>
              <a:t>Key Messages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DB31619-78FB-4336-88EF-311F371DF045}"/>
              </a:ext>
            </a:extLst>
          </p:cNvPr>
          <p:cNvGrpSpPr/>
          <p:nvPr/>
        </p:nvGrpSpPr>
        <p:grpSpPr>
          <a:xfrm>
            <a:off x="455498" y="2185191"/>
            <a:ext cx="1554387" cy="2869796"/>
            <a:chOff x="455498" y="2185191"/>
            <a:chExt cx="1554387" cy="2869796"/>
          </a:xfrm>
        </p:grpSpPr>
        <p:sp>
          <p:nvSpPr>
            <p:cNvPr id="22" name="Ellipse 21"/>
            <p:cNvSpPr/>
            <p:nvPr/>
          </p:nvSpPr>
          <p:spPr>
            <a:xfrm>
              <a:off x="560382" y="2185191"/>
              <a:ext cx="1344618" cy="1344618"/>
            </a:xfrm>
            <a:prstGeom prst="ellipse">
              <a:avLst/>
            </a:prstGeom>
            <a:gradFill>
              <a:gsLst>
                <a:gs pos="100000">
                  <a:schemeClr val="bg1">
                    <a:lumMod val="95000"/>
                  </a:schemeClr>
                </a:gs>
                <a:gs pos="35000">
                  <a:schemeClr val="bg2">
                    <a:lumMod val="90000"/>
                  </a:schemeClr>
                </a:gs>
                <a:gs pos="1000">
                  <a:schemeClr val="bg2">
                    <a:lumMod val="75000"/>
                  </a:schemeClr>
                </a:gs>
                <a:gs pos="65000">
                  <a:schemeClr val="bg2"/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27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  <p:sp>
          <p:nvSpPr>
            <p:cNvPr id="35" name="Textfeld 34"/>
            <p:cNvSpPr txBox="1">
              <a:spLocks/>
            </p:cNvSpPr>
            <p:nvPr/>
          </p:nvSpPr>
          <p:spPr>
            <a:xfrm>
              <a:off x="455498" y="3731548"/>
              <a:ext cx="1554387" cy="1323439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de-CH" sz="5400" dirty="0">
                  <a:solidFill>
                    <a:srgbClr val="139AA1"/>
                  </a:solidFill>
                  <a:latin typeface="+mj-lt"/>
                </a:rPr>
                <a:t>80%</a:t>
              </a:r>
            </a:p>
            <a:p>
              <a:pPr algn="ctr"/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of</a:t>
              </a:r>
              <a: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 </a:t>
              </a:r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radio</a:t>
              </a:r>
              <a: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 </a:t>
              </a:r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usage</a:t>
              </a:r>
              <a: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 </a:t>
              </a:r>
            </a:p>
            <a:p>
              <a:pPr algn="ctr"/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is</a:t>
              </a:r>
              <a: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 digital</a:t>
              </a:r>
            </a:p>
          </p:txBody>
        </p:sp>
        <p:sp>
          <p:nvSpPr>
            <p:cNvPr id="43" name="Freeform 7"/>
            <p:cNvSpPr>
              <a:spLocks noEditPoints="1"/>
            </p:cNvSpPr>
            <p:nvPr/>
          </p:nvSpPr>
          <p:spPr bwMode="auto">
            <a:xfrm>
              <a:off x="793281" y="2408084"/>
              <a:ext cx="878820" cy="898832"/>
            </a:xfrm>
            <a:custGeom>
              <a:avLst/>
              <a:gdLst>
                <a:gd name="T0" fmla="*/ 773 w 855"/>
                <a:gd name="T1" fmla="*/ 190 h 875"/>
                <a:gd name="T2" fmla="*/ 821 w 855"/>
                <a:gd name="T3" fmla="*/ 580 h 875"/>
                <a:gd name="T4" fmla="*/ 185 w 855"/>
                <a:gd name="T5" fmla="*/ 778 h 875"/>
                <a:gd name="T6" fmla="*/ 83 w 855"/>
                <a:gd name="T7" fmla="*/ 190 h 875"/>
                <a:gd name="T8" fmla="*/ 389 w 855"/>
                <a:gd name="T9" fmla="*/ 16 h 875"/>
                <a:gd name="T10" fmla="*/ 407 w 855"/>
                <a:gd name="T11" fmla="*/ 202 h 875"/>
                <a:gd name="T12" fmla="*/ 302 w 855"/>
                <a:gd name="T13" fmla="*/ 202 h 875"/>
                <a:gd name="T14" fmla="*/ 554 w 855"/>
                <a:gd name="T15" fmla="*/ 202 h 875"/>
                <a:gd name="T16" fmla="*/ 449 w 855"/>
                <a:gd name="T17" fmla="*/ 202 h 875"/>
                <a:gd name="T18" fmla="*/ 134 w 855"/>
                <a:gd name="T19" fmla="*/ 202 h 875"/>
                <a:gd name="T20" fmla="*/ 314 w 855"/>
                <a:gd name="T21" fmla="*/ 94 h 875"/>
                <a:gd name="T22" fmla="*/ 146 w 855"/>
                <a:gd name="T23" fmla="*/ 181 h 875"/>
                <a:gd name="T24" fmla="*/ 725 w 855"/>
                <a:gd name="T25" fmla="*/ 202 h 875"/>
                <a:gd name="T26" fmla="*/ 518 w 855"/>
                <a:gd name="T27" fmla="*/ 70 h 875"/>
                <a:gd name="T28" fmla="*/ 101 w 855"/>
                <a:gd name="T29" fmla="*/ 244 h 875"/>
                <a:gd name="T30" fmla="*/ 209 w 855"/>
                <a:gd name="T31" fmla="*/ 412 h 875"/>
                <a:gd name="T32" fmla="*/ 101 w 855"/>
                <a:gd name="T33" fmla="*/ 244 h 875"/>
                <a:gd name="T34" fmla="*/ 752 w 855"/>
                <a:gd name="T35" fmla="*/ 244 h 875"/>
                <a:gd name="T36" fmla="*/ 647 w 855"/>
                <a:gd name="T37" fmla="*/ 412 h 875"/>
                <a:gd name="T38" fmla="*/ 788 w 855"/>
                <a:gd name="T39" fmla="*/ 319 h 875"/>
                <a:gd name="T40" fmla="*/ 251 w 855"/>
                <a:gd name="T41" fmla="*/ 412 h 875"/>
                <a:gd name="T42" fmla="*/ 407 w 855"/>
                <a:gd name="T43" fmla="*/ 247 h 875"/>
                <a:gd name="T44" fmla="*/ 449 w 855"/>
                <a:gd name="T45" fmla="*/ 247 h 875"/>
                <a:gd name="T46" fmla="*/ 605 w 855"/>
                <a:gd name="T47" fmla="*/ 412 h 875"/>
                <a:gd name="T48" fmla="*/ 449 w 855"/>
                <a:gd name="T49" fmla="*/ 247 h 875"/>
                <a:gd name="T50" fmla="*/ 239 w 855"/>
                <a:gd name="T51" fmla="*/ 616 h 875"/>
                <a:gd name="T52" fmla="*/ 50 w 855"/>
                <a:gd name="T53" fmla="*/ 454 h 875"/>
                <a:gd name="T54" fmla="*/ 251 w 855"/>
                <a:gd name="T55" fmla="*/ 454 h 875"/>
                <a:gd name="T56" fmla="*/ 407 w 855"/>
                <a:gd name="T57" fmla="*/ 619 h 875"/>
                <a:gd name="T58" fmla="*/ 251 w 855"/>
                <a:gd name="T59" fmla="*/ 454 h 875"/>
                <a:gd name="T60" fmla="*/ 449 w 855"/>
                <a:gd name="T61" fmla="*/ 619 h 875"/>
                <a:gd name="T62" fmla="*/ 605 w 855"/>
                <a:gd name="T63" fmla="*/ 454 h 875"/>
                <a:gd name="T64" fmla="*/ 647 w 855"/>
                <a:gd name="T65" fmla="*/ 454 h 875"/>
                <a:gd name="T66" fmla="*/ 758 w 855"/>
                <a:gd name="T67" fmla="*/ 619 h 875"/>
                <a:gd name="T68" fmla="*/ 647 w 855"/>
                <a:gd name="T69" fmla="*/ 454 h 875"/>
                <a:gd name="T70" fmla="*/ 257 w 855"/>
                <a:gd name="T71" fmla="*/ 664 h 875"/>
                <a:gd name="T72" fmla="*/ 335 w 855"/>
                <a:gd name="T73" fmla="*/ 799 h 875"/>
                <a:gd name="T74" fmla="*/ 392 w 855"/>
                <a:gd name="T75" fmla="*/ 799 h 875"/>
                <a:gd name="T76" fmla="*/ 407 w 855"/>
                <a:gd name="T77" fmla="*/ 664 h 875"/>
                <a:gd name="T78" fmla="*/ 305 w 855"/>
                <a:gd name="T79" fmla="*/ 673 h 875"/>
                <a:gd name="T80" fmla="*/ 554 w 855"/>
                <a:gd name="T81" fmla="*/ 664 h 875"/>
                <a:gd name="T82" fmla="*/ 449 w 855"/>
                <a:gd name="T83" fmla="*/ 808 h 875"/>
                <a:gd name="T84" fmla="*/ 527 w 855"/>
                <a:gd name="T85" fmla="*/ 787 h 875"/>
                <a:gd name="T86" fmla="*/ 710 w 855"/>
                <a:gd name="T87" fmla="*/ 685 h 875"/>
                <a:gd name="T88" fmla="*/ 599 w 855"/>
                <a:gd name="T89" fmla="*/ 664 h 8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55" h="875">
                  <a:moveTo>
                    <a:pt x="389" y="16"/>
                  </a:moveTo>
                  <a:cubicBezTo>
                    <a:pt x="567" y="0"/>
                    <a:pt x="705" y="92"/>
                    <a:pt x="773" y="190"/>
                  </a:cubicBezTo>
                  <a:cubicBezTo>
                    <a:pt x="812" y="246"/>
                    <a:pt x="833" y="310"/>
                    <a:pt x="842" y="367"/>
                  </a:cubicBezTo>
                  <a:cubicBezTo>
                    <a:pt x="855" y="446"/>
                    <a:pt x="844" y="519"/>
                    <a:pt x="821" y="580"/>
                  </a:cubicBezTo>
                  <a:cubicBezTo>
                    <a:pt x="778" y="695"/>
                    <a:pt x="689" y="784"/>
                    <a:pt x="575" y="826"/>
                  </a:cubicBezTo>
                  <a:cubicBezTo>
                    <a:pt x="443" y="875"/>
                    <a:pt x="290" y="851"/>
                    <a:pt x="185" y="778"/>
                  </a:cubicBezTo>
                  <a:cubicBezTo>
                    <a:pt x="95" y="715"/>
                    <a:pt x="18" y="605"/>
                    <a:pt x="8" y="466"/>
                  </a:cubicBezTo>
                  <a:cubicBezTo>
                    <a:pt x="0" y="353"/>
                    <a:pt x="43" y="247"/>
                    <a:pt x="83" y="190"/>
                  </a:cubicBezTo>
                  <a:cubicBezTo>
                    <a:pt x="112" y="148"/>
                    <a:pt x="158" y="106"/>
                    <a:pt x="206" y="76"/>
                  </a:cubicBezTo>
                  <a:cubicBezTo>
                    <a:pt x="256" y="45"/>
                    <a:pt x="313" y="23"/>
                    <a:pt x="389" y="16"/>
                  </a:cubicBezTo>
                  <a:close/>
                  <a:moveTo>
                    <a:pt x="302" y="202"/>
                  </a:moveTo>
                  <a:cubicBezTo>
                    <a:pt x="337" y="202"/>
                    <a:pt x="372" y="202"/>
                    <a:pt x="407" y="202"/>
                  </a:cubicBezTo>
                  <a:cubicBezTo>
                    <a:pt x="405" y="154"/>
                    <a:pt x="411" y="98"/>
                    <a:pt x="404" y="55"/>
                  </a:cubicBezTo>
                  <a:cubicBezTo>
                    <a:pt x="364" y="98"/>
                    <a:pt x="325" y="142"/>
                    <a:pt x="302" y="202"/>
                  </a:cubicBezTo>
                  <a:close/>
                  <a:moveTo>
                    <a:pt x="449" y="202"/>
                  </a:moveTo>
                  <a:cubicBezTo>
                    <a:pt x="484" y="202"/>
                    <a:pt x="519" y="202"/>
                    <a:pt x="554" y="202"/>
                  </a:cubicBezTo>
                  <a:cubicBezTo>
                    <a:pt x="529" y="143"/>
                    <a:pt x="493" y="95"/>
                    <a:pt x="449" y="55"/>
                  </a:cubicBezTo>
                  <a:cubicBezTo>
                    <a:pt x="449" y="104"/>
                    <a:pt x="449" y="153"/>
                    <a:pt x="449" y="202"/>
                  </a:cubicBezTo>
                  <a:close/>
                  <a:moveTo>
                    <a:pt x="146" y="181"/>
                  </a:moveTo>
                  <a:cubicBezTo>
                    <a:pt x="141" y="187"/>
                    <a:pt x="122" y="199"/>
                    <a:pt x="134" y="202"/>
                  </a:cubicBezTo>
                  <a:cubicBezTo>
                    <a:pt x="175" y="202"/>
                    <a:pt x="216" y="202"/>
                    <a:pt x="257" y="202"/>
                  </a:cubicBezTo>
                  <a:cubicBezTo>
                    <a:pt x="271" y="164"/>
                    <a:pt x="293" y="123"/>
                    <a:pt x="314" y="94"/>
                  </a:cubicBezTo>
                  <a:cubicBezTo>
                    <a:pt x="321" y="85"/>
                    <a:pt x="342" y="72"/>
                    <a:pt x="332" y="67"/>
                  </a:cubicBezTo>
                  <a:cubicBezTo>
                    <a:pt x="255" y="84"/>
                    <a:pt x="189" y="132"/>
                    <a:pt x="146" y="181"/>
                  </a:cubicBezTo>
                  <a:close/>
                  <a:moveTo>
                    <a:pt x="599" y="202"/>
                  </a:moveTo>
                  <a:cubicBezTo>
                    <a:pt x="641" y="202"/>
                    <a:pt x="683" y="202"/>
                    <a:pt x="725" y="202"/>
                  </a:cubicBezTo>
                  <a:cubicBezTo>
                    <a:pt x="685" y="141"/>
                    <a:pt x="611" y="88"/>
                    <a:pt x="521" y="67"/>
                  </a:cubicBezTo>
                  <a:cubicBezTo>
                    <a:pt x="519" y="67"/>
                    <a:pt x="518" y="67"/>
                    <a:pt x="518" y="70"/>
                  </a:cubicBezTo>
                  <a:cubicBezTo>
                    <a:pt x="553" y="106"/>
                    <a:pt x="580" y="150"/>
                    <a:pt x="599" y="202"/>
                  </a:cubicBezTo>
                  <a:close/>
                  <a:moveTo>
                    <a:pt x="101" y="244"/>
                  </a:moveTo>
                  <a:cubicBezTo>
                    <a:pt x="73" y="289"/>
                    <a:pt x="54" y="343"/>
                    <a:pt x="50" y="412"/>
                  </a:cubicBezTo>
                  <a:cubicBezTo>
                    <a:pt x="103" y="412"/>
                    <a:pt x="156" y="412"/>
                    <a:pt x="209" y="412"/>
                  </a:cubicBezTo>
                  <a:cubicBezTo>
                    <a:pt x="213" y="351"/>
                    <a:pt x="221" y="294"/>
                    <a:pt x="239" y="247"/>
                  </a:cubicBezTo>
                  <a:cubicBezTo>
                    <a:pt x="194" y="245"/>
                    <a:pt x="142" y="250"/>
                    <a:pt x="101" y="244"/>
                  </a:cubicBezTo>
                  <a:close/>
                  <a:moveTo>
                    <a:pt x="788" y="319"/>
                  </a:moveTo>
                  <a:cubicBezTo>
                    <a:pt x="779" y="291"/>
                    <a:pt x="772" y="263"/>
                    <a:pt x="752" y="244"/>
                  </a:cubicBezTo>
                  <a:cubicBezTo>
                    <a:pt x="714" y="253"/>
                    <a:pt x="655" y="241"/>
                    <a:pt x="617" y="250"/>
                  </a:cubicBezTo>
                  <a:cubicBezTo>
                    <a:pt x="636" y="295"/>
                    <a:pt x="643" y="353"/>
                    <a:pt x="647" y="412"/>
                  </a:cubicBezTo>
                  <a:cubicBezTo>
                    <a:pt x="700" y="412"/>
                    <a:pt x="753" y="412"/>
                    <a:pt x="806" y="412"/>
                  </a:cubicBezTo>
                  <a:cubicBezTo>
                    <a:pt x="806" y="378"/>
                    <a:pt x="797" y="346"/>
                    <a:pt x="788" y="319"/>
                  </a:cubicBezTo>
                  <a:close/>
                  <a:moveTo>
                    <a:pt x="284" y="247"/>
                  </a:moveTo>
                  <a:cubicBezTo>
                    <a:pt x="263" y="292"/>
                    <a:pt x="255" y="350"/>
                    <a:pt x="251" y="412"/>
                  </a:cubicBezTo>
                  <a:cubicBezTo>
                    <a:pt x="303" y="412"/>
                    <a:pt x="355" y="412"/>
                    <a:pt x="407" y="412"/>
                  </a:cubicBezTo>
                  <a:cubicBezTo>
                    <a:pt x="407" y="357"/>
                    <a:pt x="407" y="302"/>
                    <a:pt x="407" y="247"/>
                  </a:cubicBezTo>
                  <a:cubicBezTo>
                    <a:pt x="366" y="247"/>
                    <a:pt x="325" y="247"/>
                    <a:pt x="284" y="247"/>
                  </a:cubicBezTo>
                  <a:close/>
                  <a:moveTo>
                    <a:pt x="449" y="247"/>
                  </a:moveTo>
                  <a:cubicBezTo>
                    <a:pt x="449" y="302"/>
                    <a:pt x="449" y="357"/>
                    <a:pt x="449" y="412"/>
                  </a:cubicBezTo>
                  <a:cubicBezTo>
                    <a:pt x="501" y="412"/>
                    <a:pt x="553" y="412"/>
                    <a:pt x="605" y="412"/>
                  </a:cubicBezTo>
                  <a:cubicBezTo>
                    <a:pt x="603" y="349"/>
                    <a:pt x="590" y="297"/>
                    <a:pt x="575" y="247"/>
                  </a:cubicBezTo>
                  <a:cubicBezTo>
                    <a:pt x="533" y="247"/>
                    <a:pt x="491" y="247"/>
                    <a:pt x="449" y="247"/>
                  </a:cubicBezTo>
                  <a:close/>
                  <a:moveTo>
                    <a:pt x="98" y="619"/>
                  </a:moveTo>
                  <a:cubicBezTo>
                    <a:pt x="144" y="617"/>
                    <a:pt x="198" y="623"/>
                    <a:pt x="239" y="616"/>
                  </a:cubicBezTo>
                  <a:cubicBezTo>
                    <a:pt x="220" y="571"/>
                    <a:pt x="213" y="514"/>
                    <a:pt x="209" y="454"/>
                  </a:cubicBezTo>
                  <a:cubicBezTo>
                    <a:pt x="156" y="454"/>
                    <a:pt x="103" y="454"/>
                    <a:pt x="50" y="454"/>
                  </a:cubicBezTo>
                  <a:cubicBezTo>
                    <a:pt x="54" y="521"/>
                    <a:pt x="73" y="573"/>
                    <a:pt x="98" y="619"/>
                  </a:cubicBezTo>
                  <a:close/>
                  <a:moveTo>
                    <a:pt x="251" y="454"/>
                  </a:moveTo>
                  <a:cubicBezTo>
                    <a:pt x="253" y="517"/>
                    <a:pt x="266" y="569"/>
                    <a:pt x="281" y="619"/>
                  </a:cubicBezTo>
                  <a:cubicBezTo>
                    <a:pt x="323" y="619"/>
                    <a:pt x="365" y="619"/>
                    <a:pt x="407" y="619"/>
                  </a:cubicBezTo>
                  <a:cubicBezTo>
                    <a:pt x="407" y="564"/>
                    <a:pt x="407" y="509"/>
                    <a:pt x="407" y="454"/>
                  </a:cubicBezTo>
                  <a:cubicBezTo>
                    <a:pt x="355" y="454"/>
                    <a:pt x="303" y="454"/>
                    <a:pt x="251" y="454"/>
                  </a:cubicBezTo>
                  <a:close/>
                  <a:moveTo>
                    <a:pt x="449" y="454"/>
                  </a:moveTo>
                  <a:cubicBezTo>
                    <a:pt x="449" y="509"/>
                    <a:pt x="449" y="564"/>
                    <a:pt x="449" y="619"/>
                  </a:cubicBezTo>
                  <a:cubicBezTo>
                    <a:pt x="491" y="619"/>
                    <a:pt x="533" y="619"/>
                    <a:pt x="575" y="619"/>
                  </a:cubicBezTo>
                  <a:cubicBezTo>
                    <a:pt x="590" y="569"/>
                    <a:pt x="603" y="517"/>
                    <a:pt x="605" y="454"/>
                  </a:cubicBezTo>
                  <a:cubicBezTo>
                    <a:pt x="553" y="454"/>
                    <a:pt x="501" y="454"/>
                    <a:pt x="449" y="454"/>
                  </a:cubicBezTo>
                  <a:close/>
                  <a:moveTo>
                    <a:pt x="647" y="454"/>
                  </a:moveTo>
                  <a:cubicBezTo>
                    <a:pt x="643" y="515"/>
                    <a:pt x="635" y="572"/>
                    <a:pt x="617" y="619"/>
                  </a:cubicBezTo>
                  <a:cubicBezTo>
                    <a:pt x="664" y="619"/>
                    <a:pt x="711" y="619"/>
                    <a:pt x="758" y="619"/>
                  </a:cubicBezTo>
                  <a:cubicBezTo>
                    <a:pt x="783" y="573"/>
                    <a:pt x="802" y="521"/>
                    <a:pt x="806" y="454"/>
                  </a:cubicBezTo>
                  <a:cubicBezTo>
                    <a:pt x="753" y="454"/>
                    <a:pt x="700" y="454"/>
                    <a:pt x="647" y="454"/>
                  </a:cubicBezTo>
                  <a:close/>
                  <a:moveTo>
                    <a:pt x="335" y="799"/>
                  </a:moveTo>
                  <a:cubicBezTo>
                    <a:pt x="312" y="763"/>
                    <a:pt x="273" y="717"/>
                    <a:pt x="257" y="664"/>
                  </a:cubicBezTo>
                  <a:cubicBezTo>
                    <a:pt x="215" y="666"/>
                    <a:pt x="165" y="660"/>
                    <a:pt x="128" y="667"/>
                  </a:cubicBezTo>
                  <a:cubicBezTo>
                    <a:pt x="181" y="727"/>
                    <a:pt x="243" y="779"/>
                    <a:pt x="335" y="799"/>
                  </a:cubicBezTo>
                  <a:close/>
                  <a:moveTo>
                    <a:pt x="305" y="673"/>
                  </a:moveTo>
                  <a:cubicBezTo>
                    <a:pt x="327" y="716"/>
                    <a:pt x="359" y="769"/>
                    <a:pt x="392" y="799"/>
                  </a:cubicBezTo>
                  <a:cubicBezTo>
                    <a:pt x="394" y="800"/>
                    <a:pt x="405" y="816"/>
                    <a:pt x="407" y="805"/>
                  </a:cubicBezTo>
                  <a:cubicBezTo>
                    <a:pt x="407" y="758"/>
                    <a:pt x="407" y="711"/>
                    <a:pt x="407" y="664"/>
                  </a:cubicBezTo>
                  <a:cubicBezTo>
                    <a:pt x="372" y="664"/>
                    <a:pt x="337" y="664"/>
                    <a:pt x="302" y="664"/>
                  </a:cubicBezTo>
                  <a:cubicBezTo>
                    <a:pt x="302" y="668"/>
                    <a:pt x="303" y="671"/>
                    <a:pt x="305" y="673"/>
                  </a:cubicBezTo>
                  <a:close/>
                  <a:moveTo>
                    <a:pt x="449" y="808"/>
                  </a:moveTo>
                  <a:cubicBezTo>
                    <a:pt x="490" y="778"/>
                    <a:pt x="530" y="721"/>
                    <a:pt x="554" y="664"/>
                  </a:cubicBezTo>
                  <a:cubicBezTo>
                    <a:pt x="519" y="664"/>
                    <a:pt x="484" y="664"/>
                    <a:pt x="449" y="664"/>
                  </a:cubicBezTo>
                  <a:cubicBezTo>
                    <a:pt x="449" y="712"/>
                    <a:pt x="449" y="760"/>
                    <a:pt x="449" y="808"/>
                  </a:cubicBezTo>
                  <a:close/>
                  <a:moveTo>
                    <a:pt x="599" y="664"/>
                  </a:moveTo>
                  <a:cubicBezTo>
                    <a:pt x="586" y="711"/>
                    <a:pt x="551" y="755"/>
                    <a:pt x="527" y="787"/>
                  </a:cubicBezTo>
                  <a:cubicBezTo>
                    <a:pt x="527" y="787"/>
                    <a:pt x="513" y="797"/>
                    <a:pt x="524" y="799"/>
                  </a:cubicBezTo>
                  <a:cubicBezTo>
                    <a:pt x="601" y="782"/>
                    <a:pt x="667" y="734"/>
                    <a:pt x="710" y="685"/>
                  </a:cubicBezTo>
                  <a:cubicBezTo>
                    <a:pt x="716" y="679"/>
                    <a:pt x="734" y="667"/>
                    <a:pt x="722" y="664"/>
                  </a:cubicBezTo>
                  <a:cubicBezTo>
                    <a:pt x="681" y="664"/>
                    <a:pt x="640" y="664"/>
                    <a:pt x="599" y="664"/>
                  </a:cubicBezTo>
                  <a:close/>
                </a:path>
              </a:pathLst>
            </a:custGeom>
            <a:solidFill>
              <a:srgbClr val="139AA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2C232024-59EE-4075-8D5C-5B174A40DF1D}"/>
              </a:ext>
            </a:extLst>
          </p:cNvPr>
          <p:cNvGrpSpPr/>
          <p:nvPr/>
        </p:nvGrpSpPr>
        <p:grpSpPr>
          <a:xfrm>
            <a:off x="2119648" y="2185191"/>
            <a:ext cx="1344618" cy="3116017"/>
            <a:chOff x="2174852" y="2185191"/>
            <a:chExt cx="1344618" cy="3116017"/>
          </a:xfrm>
        </p:grpSpPr>
        <p:sp>
          <p:nvSpPr>
            <p:cNvPr id="24" name="Ellipse 23"/>
            <p:cNvSpPr/>
            <p:nvPr/>
          </p:nvSpPr>
          <p:spPr>
            <a:xfrm>
              <a:off x="2174852" y="2185191"/>
              <a:ext cx="1344618" cy="1344618"/>
            </a:xfrm>
            <a:prstGeom prst="ellipse">
              <a:avLst/>
            </a:prstGeom>
            <a:gradFill>
              <a:gsLst>
                <a:gs pos="100000">
                  <a:schemeClr val="bg1">
                    <a:lumMod val="95000"/>
                  </a:schemeClr>
                </a:gs>
                <a:gs pos="35000">
                  <a:schemeClr val="bg2">
                    <a:lumMod val="90000"/>
                  </a:schemeClr>
                </a:gs>
                <a:gs pos="1000">
                  <a:schemeClr val="bg2">
                    <a:lumMod val="75000"/>
                  </a:schemeClr>
                </a:gs>
                <a:gs pos="65000">
                  <a:schemeClr val="bg2"/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27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  <p:sp>
          <p:nvSpPr>
            <p:cNvPr id="36" name="Textfeld 35"/>
            <p:cNvSpPr txBox="1">
              <a:spLocks/>
            </p:cNvSpPr>
            <p:nvPr/>
          </p:nvSpPr>
          <p:spPr>
            <a:xfrm>
              <a:off x="2287435" y="3731548"/>
              <a:ext cx="1119464" cy="1569660"/>
            </a:xfrm>
            <a:prstGeom prst="rect">
              <a:avLst/>
            </a:prstGeom>
            <a:noFill/>
          </p:spPr>
          <p:txBody>
            <a:bodyPr wrap="none" lIns="36000" tIns="0" rIns="36000" bIns="0" rtlCol="0">
              <a:spAutoFit/>
            </a:bodyPr>
            <a:lstStyle/>
            <a:p>
              <a:pPr algn="ctr"/>
              <a:r>
                <a:rPr lang="de-CH" sz="5400" dirty="0">
                  <a:solidFill>
                    <a:srgbClr val="18BEC6"/>
                  </a:solidFill>
                  <a:latin typeface="+mj-lt"/>
                </a:rPr>
                <a:t>+31</a:t>
              </a:r>
            </a:p>
            <a:p>
              <a:pPr algn="ctr"/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percentage</a:t>
              </a:r>
              <a: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 </a:t>
              </a:r>
            </a:p>
            <a:p>
              <a:pPr algn="ctr"/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points</a:t>
              </a:r>
              <a: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 in</a:t>
              </a:r>
              <a:b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</a:br>
              <a: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7</a:t>
              </a:r>
              <a: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 </a:t>
              </a:r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years</a:t>
              </a:r>
              <a:endParaRPr lang="de-CH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endParaRPr>
            </a:p>
          </p:txBody>
        </p:sp>
        <p:grpSp>
          <p:nvGrpSpPr>
            <p:cNvPr id="44" name="Gruppieren 43"/>
            <p:cNvGrpSpPr/>
            <p:nvPr/>
          </p:nvGrpSpPr>
          <p:grpSpPr>
            <a:xfrm>
              <a:off x="2409967" y="2458641"/>
              <a:ext cx="874388" cy="797718"/>
              <a:chOff x="4948237" y="573088"/>
              <a:chExt cx="3132138" cy="2857500"/>
            </a:xfrm>
            <a:solidFill>
              <a:srgbClr val="18BEC6"/>
            </a:solidFill>
          </p:grpSpPr>
          <p:sp>
            <p:nvSpPr>
              <p:cNvPr id="45" name="Freeform 7"/>
              <p:cNvSpPr>
                <a:spLocks/>
              </p:cNvSpPr>
              <p:nvPr/>
            </p:nvSpPr>
            <p:spPr bwMode="auto">
              <a:xfrm>
                <a:off x="4948237" y="573088"/>
                <a:ext cx="3132138" cy="2032000"/>
              </a:xfrm>
              <a:custGeom>
                <a:avLst/>
                <a:gdLst>
                  <a:gd name="T0" fmla="*/ 739 w 835"/>
                  <a:gd name="T1" fmla="*/ 175 h 542"/>
                  <a:gd name="T2" fmla="*/ 679 w 835"/>
                  <a:gd name="T3" fmla="*/ 250 h 542"/>
                  <a:gd name="T4" fmla="*/ 136 w 835"/>
                  <a:gd name="T5" fmla="*/ 535 h 542"/>
                  <a:gd name="T6" fmla="*/ 16 w 835"/>
                  <a:gd name="T7" fmla="*/ 523 h 542"/>
                  <a:gd name="T8" fmla="*/ 16 w 835"/>
                  <a:gd name="T9" fmla="*/ 463 h 542"/>
                  <a:gd name="T10" fmla="*/ 109 w 835"/>
                  <a:gd name="T11" fmla="*/ 448 h 542"/>
                  <a:gd name="T12" fmla="*/ 661 w 835"/>
                  <a:gd name="T13" fmla="*/ 124 h 542"/>
                  <a:gd name="T14" fmla="*/ 589 w 835"/>
                  <a:gd name="T15" fmla="*/ 73 h 542"/>
                  <a:gd name="T16" fmla="*/ 742 w 835"/>
                  <a:gd name="T17" fmla="*/ 16 h 542"/>
                  <a:gd name="T18" fmla="*/ 823 w 835"/>
                  <a:gd name="T19" fmla="*/ 154 h 542"/>
                  <a:gd name="T20" fmla="*/ 787 w 835"/>
                  <a:gd name="T21" fmla="*/ 229 h 542"/>
                  <a:gd name="T22" fmla="*/ 739 w 835"/>
                  <a:gd name="T23" fmla="*/ 175 h 5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35" h="542">
                    <a:moveTo>
                      <a:pt x="739" y="175"/>
                    </a:moveTo>
                    <a:cubicBezTo>
                      <a:pt x="714" y="194"/>
                      <a:pt x="701" y="226"/>
                      <a:pt x="679" y="250"/>
                    </a:cubicBezTo>
                    <a:cubicBezTo>
                      <a:pt x="556" y="390"/>
                      <a:pt x="380" y="510"/>
                      <a:pt x="136" y="535"/>
                    </a:cubicBezTo>
                    <a:cubicBezTo>
                      <a:pt x="92" y="540"/>
                      <a:pt x="32" y="542"/>
                      <a:pt x="16" y="523"/>
                    </a:cubicBezTo>
                    <a:cubicBezTo>
                      <a:pt x="0" y="504"/>
                      <a:pt x="5" y="476"/>
                      <a:pt x="16" y="463"/>
                    </a:cubicBezTo>
                    <a:cubicBezTo>
                      <a:pt x="30" y="446"/>
                      <a:pt x="72" y="450"/>
                      <a:pt x="109" y="448"/>
                    </a:cubicBezTo>
                    <a:cubicBezTo>
                      <a:pt x="360" y="434"/>
                      <a:pt x="551" y="288"/>
                      <a:pt x="661" y="124"/>
                    </a:cubicBezTo>
                    <a:cubicBezTo>
                      <a:pt x="604" y="139"/>
                      <a:pt x="581" y="107"/>
                      <a:pt x="589" y="73"/>
                    </a:cubicBezTo>
                    <a:cubicBezTo>
                      <a:pt x="599" y="31"/>
                      <a:pt x="689" y="28"/>
                      <a:pt x="742" y="16"/>
                    </a:cubicBezTo>
                    <a:cubicBezTo>
                      <a:pt x="813" y="0"/>
                      <a:pt x="813" y="98"/>
                      <a:pt x="823" y="154"/>
                    </a:cubicBezTo>
                    <a:cubicBezTo>
                      <a:pt x="829" y="186"/>
                      <a:pt x="835" y="229"/>
                      <a:pt x="787" y="229"/>
                    </a:cubicBezTo>
                    <a:cubicBezTo>
                      <a:pt x="757" y="229"/>
                      <a:pt x="744" y="206"/>
                      <a:pt x="739" y="17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CH"/>
              </a:p>
            </p:txBody>
          </p:sp>
          <p:sp>
            <p:nvSpPr>
              <p:cNvPr id="46" name="Freeform 8"/>
              <p:cNvSpPr>
                <a:spLocks/>
              </p:cNvSpPr>
              <p:nvPr/>
            </p:nvSpPr>
            <p:spPr bwMode="auto">
              <a:xfrm>
                <a:off x="7326313" y="1784350"/>
                <a:ext cx="574675" cy="1646238"/>
              </a:xfrm>
              <a:custGeom>
                <a:avLst/>
                <a:gdLst>
                  <a:gd name="T0" fmla="*/ 132 w 153"/>
                  <a:gd name="T1" fmla="*/ 431 h 439"/>
                  <a:gd name="T2" fmla="*/ 15 w 153"/>
                  <a:gd name="T3" fmla="*/ 428 h 439"/>
                  <a:gd name="T4" fmla="*/ 6 w 153"/>
                  <a:gd name="T5" fmla="*/ 332 h 439"/>
                  <a:gd name="T6" fmla="*/ 6 w 153"/>
                  <a:gd name="T7" fmla="*/ 227 h 439"/>
                  <a:gd name="T8" fmla="*/ 12 w 153"/>
                  <a:gd name="T9" fmla="*/ 26 h 439"/>
                  <a:gd name="T10" fmla="*/ 138 w 153"/>
                  <a:gd name="T11" fmla="*/ 23 h 439"/>
                  <a:gd name="T12" fmla="*/ 147 w 153"/>
                  <a:gd name="T13" fmla="*/ 122 h 439"/>
                  <a:gd name="T14" fmla="*/ 147 w 153"/>
                  <a:gd name="T15" fmla="*/ 338 h 439"/>
                  <a:gd name="T16" fmla="*/ 132 w 153"/>
                  <a:gd name="T17" fmla="*/ 431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3" h="439">
                    <a:moveTo>
                      <a:pt x="132" y="431"/>
                    </a:moveTo>
                    <a:cubicBezTo>
                      <a:pt x="100" y="435"/>
                      <a:pt x="42" y="439"/>
                      <a:pt x="15" y="428"/>
                    </a:cubicBezTo>
                    <a:cubicBezTo>
                      <a:pt x="0" y="401"/>
                      <a:pt x="6" y="366"/>
                      <a:pt x="6" y="332"/>
                    </a:cubicBezTo>
                    <a:cubicBezTo>
                      <a:pt x="6" y="298"/>
                      <a:pt x="6" y="262"/>
                      <a:pt x="6" y="227"/>
                    </a:cubicBezTo>
                    <a:cubicBezTo>
                      <a:pt x="6" y="157"/>
                      <a:pt x="1" y="85"/>
                      <a:pt x="12" y="26"/>
                    </a:cubicBezTo>
                    <a:cubicBezTo>
                      <a:pt x="40" y="14"/>
                      <a:pt x="115" y="0"/>
                      <a:pt x="138" y="23"/>
                    </a:cubicBezTo>
                    <a:cubicBezTo>
                      <a:pt x="153" y="38"/>
                      <a:pt x="147" y="88"/>
                      <a:pt x="147" y="122"/>
                    </a:cubicBezTo>
                    <a:cubicBezTo>
                      <a:pt x="147" y="197"/>
                      <a:pt x="147" y="266"/>
                      <a:pt x="147" y="338"/>
                    </a:cubicBezTo>
                    <a:cubicBezTo>
                      <a:pt x="147" y="376"/>
                      <a:pt x="153" y="413"/>
                      <a:pt x="132" y="4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CH"/>
              </a:p>
            </p:txBody>
          </p:sp>
          <p:sp>
            <p:nvSpPr>
              <p:cNvPr id="47" name="Freeform 9"/>
              <p:cNvSpPr>
                <a:spLocks/>
              </p:cNvSpPr>
              <p:nvPr/>
            </p:nvSpPr>
            <p:spPr bwMode="auto">
              <a:xfrm>
                <a:off x="6561138" y="2368550"/>
                <a:ext cx="596900" cy="1057275"/>
              </a:xfrm>
              <a:custGeom>
                <a:avLst/>
                <a:gdLst>
                  <a:gd name="T0" fmla="*/ 147 w 159"/>
                  <a:gd name="T1" fmla="*/ 17 h 282"/>
                  <a:gd name="T2" fmla="*/ 153 w 159"/>
                  <a:gd name="T3" fmla="*/ 146 h 282"/>
                  <a:gd name="T4" fmla="*/ 144 w 159"/>
                  <a:gd name="T5" fmla="*/ 272 h 282"/>
                  <a:gd name="T6" fmla="*/ 21 w 159"/>
                  <a:gd name="T7" fmla="*/ 272 h 282"/>
                  <a:gd name="T8" fmla="*/ 12 w 159"/>
                  <a:gd name="T9" fmla="*/ 137 h 282"/>
                  <a:gd name="T10" fmla="*/ 39 w 159"/>
                  <a:gd name="T11" fmla="*/ 5 h 282"/>
                  <a:gd name="T12" fmla="*/ 147 w 159"/>
                  <a:gd name="T13" fmla="*/ 17 h 2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9" h="282">
                    <a:moveTo>
                      <a:pt x="147" y="17"/>
                    </a:moveTo>
                    <a:cubicBezTo>
                      <a:pt x="157" y="52"/>
                      <a:pt x="153" y="101"/>
                      <a:pt x="153" y="146"/>
                    </a:cubicBezTo>
                    <a:cubicBezTo>
                      <a:pt x="153" y="192"/>
                      <a:pt x="159" y="240"/>
                      <a:pt x="144" y="272"/>
                    </a:cubicBezTo>
                    <a:cubicBezTo>
                      <a:pt x="115" y="282"/>
                      <a:pt x="50" y="282"/>
                      <a:pt x="21" y="272"/>
                    </a:cubicBezTo>
                    <a:cubicBezTo>
                      <a:pt x="7" y="243"/>
                      <a:pt x="12" y="192"/>
                      <a:pt x="12" y="137"/>
                    </a:cubicBezTo>
                    <a:cubicBezTo>
                      <a:pt x="12" y="92"/>
                      <a:pt x="0" y="12"/>
                      <a:pt x="39" y="5"/>
                    </a:cubicBezTo>
                    <a:cubicBezTo>
                      <a:pt x="67" y="0"/>
                      <a:pt x="127" y="2"/>
                      <a:pt x="147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CH"/>
              </a:p>
            </p:txBody>
          </p:sp>
          <p:sp>
            <p:nvSpPr>
              <p:cNvPr id="48" name="Freeform 10"/>
              <p:cNvSpPr>
                <a:spLocks/>
              </p:cNvSpPr>
              <p:nvPr/>
            </p:nvSpPr>
            <p:spPr bwMode="auto">
              <a:xfrm>
                <a:off x="5853113" y="2668588"/>
                <a:ext cx="561975" cy="757238"/>
              </a:xfrm>
              <a:custGeom>
                <a:avLst/>
                <a:gdLst>
                  <a:gd name="T0" fmla="*/ 135 w 150"/>
                  <a:gd name="T1" fmla="*/ 9 h 202"/>
                  <a:gd name="T2" fmla="*/ 144 w 150"/>
                  <a:gd name="T3" fmla="*/ 102 h 202"/>
                  <a:gd name="T4" fmla="*/ 135 w 150"/>
                  <a:gd name="T5" fmla="*/ 192 h 202"/>
                  <a:gd name="T6" fmla="*/ 15 w 150"/>
                  <a:gd name="T7" fmla="*/ 192 h 202"/>
                  <a:gd name="T8" fmla="*/ 6 w 150"/>
                  <a:gd name="T9" fmla="*/ 99 h 202"/>
                  <a:gd name="T10" fmla="*/ 15 w 150"/>
                  <a:gd name="T11" fmla="*/ 9 h 202"/>
                  <a:gd name="T12" fmla="*/ 135 w 150"/>
                  <a:gd name="T13" fmla="*/ 9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0" h="202">
                    <a:moveTo>
                      <a:pt x="135" y="9"/>
                    </a:moveTo>
                    <a:cubicBezTo>
                      <a:pt x="149" y="29"/>
                      <a:pt x="144" y="68"/>
                      <a:pt x="144" y="102"/>
                    </a:cubicBezTo>
                    <a:cubicBezTo>
                      <a:pt x="144" y="135"/>
                      <a:pt x="150" y="173"/>
                      <a:pt x="135" y="192"/>
                    </a:cubicBezTo>
                    <a:cubicBezTo>
                      <a:pt x="107" y="202"/>
                      <a:pt x="43" y="202"/>
                      <a:pt x="15" y="192"/>
                    </a:cubicBezTo>
                    <a:cubicBezTo>
                      <a:pt x="0" y="173"/>
                      <a:pt x="6" y="133"/>
                      <a:pt x="6" y="99"/>
                    </a:cubicBezTo>
                    <a:cubicBezTo>
                      <a:pt x="6" y="66"/>
                      <a:pt x="1" y="28"/>
                      <a:pt x="15" y="9"/>
                    </a:cubicBezTo>
                    <a:cubicBezTo>
                      <a:pt x="44" y="0"/>
                      <a:pt x="106" y="0"/>
                      <a:pt x="135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CH"/>
              </a:p>
            </p:txBody>
          </p:sp>
          <p:sp>
            <p:nvSpPr>
              <p:cNvPr id="49" name="Freeform 11"/>
              <p:cNvSpPr>
                <a:spLocks/>
              </p:cNvSpPr>
              <p:nvPr/>
            </p:nvSpPr>
            <p:spPr bwMode="auto">
              <a:xfrm>
                <a:off x="5102225" y="2800350"/>
                <a:ext cx="577850" cy="630238"/>
              </a:xfrm>
              <a:custGeom>
                <a:avLst/>
                <a:gdLst>
                  <a:gd name="T0" fmla="*/ 140 w 154"/>
                  <a:gd name="T1" fmla="*/ 10 h 168"/>
                  <a:gd name="T2" fmla="*/ 140 w 154"/>
                  <a:gd name="T3" fmla="*/ 157 h 168"/>
                  <a:gd name="T4" fmla="*/ 20 w 154"/>
                  <a:gd name="T5" fmla="*/ 160 h 168"/>
                  <a:gd name="T6" fmla="*/ 17 w 154"/>
                  <a:gd name="T7" fmla="*/ 10 h 168"/>
                  <a:gd name="T8" fmla="*/ 140 w 154"/>
                  <a:gd name="T9" fmla="*/ 10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4" h="168">
                    <a:moveTo>
                      <a:pt x="140" y="10"/>
                    </a:moveTo>
                    <a:cubicBezTo>
                      <a:pt x="154" y="44"/>
                      <a:pt x="154" y="123"/>
                      <a:pt x="140" y="157"/>
                    </a:cubicBezTo>
                    <a:cubicBezTo>
                      <a:pt x="111" y="168"/>
                      <a:pt x="53" y="164"/>
                      <a:pt x="20" y="160"/>
                    </a:cubicBezTo>
                    <a:cubicBezTo>
                      <a:pt x="0" y="131"/>
                      <a:pt x="3" y="43"/>
                      <a:pt x="17" y="10"/>
                    </a:cubicBezTo>
                    <a:cubicBezTo>
                      <a:pt x="46" y="0"/>
                      <a:pt x="111" y="1"/>
                      <a:pt x="140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CH"/>
              </a:p>
            </p:txBody>
          </p:sp>
        </p:grpSp>
      </p:grp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F51AE8F5-535F-4B23-85A7-D4D6063E701A}"/>
              </a:ext>
            </a:extLst>
          </p:cNvPr>
          <p:cNvGrpSpPr/>
          <p:nvPr/>
        </p:nvGrpSpPr>
        <p:grpSpPr>
          <a:xfrm>
            <a:off x="6927664" y="2185191"/>
            <a:ext cx="1554387" cy="2906148"/>
            <a:chOff x="10142315" y="2185191"/>
            <a:chExt cx="1554387" cy="2906148"/>
          </a:xfrm>
        </p:grpSpPr>
        <p:sp>
          <p:nvSpPr>
            <p:cNvPr id="33" name="Ellipse 32"/>
            <p:cNvSpPr/>
            <p:nvPr/>
          </p:nvSpPr>
          <p:spPr>
            <a:xfrm>
              <a:off x="10247199" y="2185191"/>
              <a:ext cx="1344618" cy="1344618"/>
            </a:xfrm>
            <a:prstGeom prst="ellipse">
              <a:avLst/>
            </a:prstGeom>
            <a:gradFill>
              <a:gsLst>
                <a:gs pos="100000">
                  <a:schemeClr val="bg1">
                    <a:lumMod val="95000"/>
                  </a:schemeClr>
                </a:gs>
                <a:gs pos="35000">
                  <a:schemeClr val="bg2">
                    <a:lumMod val="90000"/>
                  </a:schemeClr>
                </a:gs>
                <a:gs pos="1000">
                  <a:schemeClr val="bg2">
                    <a:lumMod val="75000"/>
                  </a:schemeClr>
                </a:gs>
                <a:gs pos="65000">
                  <a:schemeClr val="bg2"/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27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  <p:sp>
          <p:nvSpPr>
            <p:cNvPr id="40" name="Textfeld 39"/>
            <p:cNvSpPr txBox="1">
              <a:spLocks/>
            </p:cNvSpPr>
            <p:nvPr/>
          </p:nvSpPr>
          <p:spPr>
            <a:xfrm>
              <a:off x="10142315" y="3731548"/>
              <a:ext cx="1554387" cy="1359791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de-CH" sz="5400" dirty="0">
                  <a:solidFill>
                    <a:srgbClr val="E93B58"/>
                  </a:solidFill>
                  <a:latin typeface="+mj-lt"/>
                </a:rPr>
                <a:t>67%</a:t>
              </a:r>
            </a:p>
            <a:p>
              <a:pPr algn="ctr"/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of</a:t>
              </a:r>
              <a: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 in-car </a:t>
              </a:r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use</a:t>
              </a:r>
              <a:endParaRPr lang="de-CH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endParaRPr>
            </a:p>
            <a:p>
              <a:pPr algn="ctr"/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is</a:t>
              </a:r>
              <a: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 digital</a:t>
              </a:r>
            </a:p>
          </p:txBody>
        </p:sp>
        <p:sp>
          <p:nvSpPr>
            <p:cNvPr id="61" name="Freeform 14"/>
            <p:cNvSpPr>
              <a:spLocks noEditPoints="1"/>
            </p:cNvSpPr>
            <p:nvPr/>
          </p:nvSpPr>
          <p:spPr bwMode="auto">
            <a:xfrm>
              <a:off x="10537443" y="2536435"/>
              <a:ext cx="764131" cy="642131"/>
            </a:xfrm>
            <a:custGeom>
              <a:avLst/>
              <a:gdLst>
                <a:gd name="T0" fmla="*/ 719 w 846"/>
                <a:gd name="T1" fmla="*/ 203 h 711"/>
                <a:gd name="T2" fmla="*/ 818 w 846"/>
                <a:gd name="T3" fmla="*/ 197 h 711"/>
                <a:gd name="T4" fmla="*/ 764 w 846"/>
                <a:gd name="T5" fmla="*/ 299 h 711"/>
                <a:gd name="T6" fmla="*/ 800 w 846"/>
                <a:gd name="T7" fmla="*/ 587 h 711"/>
                <a:gd name="T8" fmla="*/ 779 w 846"/>
                <a:gd name="T9" fmla="*/ 689 h 711"/>
                <a:gd name="T10" fmla="*/ 677 w 846"/>
                <a:gd name="T11" fmla="*/ 689 h 711"/>
                <a:gd name="T12" fmla="*/ 656 w 846"/>
                <a:gd name="T13" fmla="*/ 605 h 711"/>
                <a:gd name="T14" fmla="*/ 179 w 846"/>
                <a:gd name="T15" fmla="*/ 605 h 711"/>
                <a:gd name="T16" fmla="*/ 155 w 846"/>
                <a:gd name="T17" fmla="*/ 689 h 711"/>
                <a:gd name="T18" fmla="*/ 35 w 846"/>
                <a:gd name="T19" fmla="*/ 668 h 711"/>
                <a:gd name="T20" fmla="*/ 32 w 846"/>
                <a:gd name="T21" fmla="*/ 569 h 711"/>
                <a:gd name="T22" fmla="*/ 68 w 846"/>
                <a:gd name="T23" fmla="*/ 302 h 711"/>
                <a:gd name="T24" fmla="*/ 11 w 846"/>
                <a:gd name="T25" fmla="*/ 281 h 711"/>
                <a:gd name="T26" fmla="*/ 11 w 846"/>
                <a:gd name="T27" fmla="*/ 200 h 711"/>
                <a:gd name="T28" fmla="*/ 110 w 846"/>
                <a:gd name="T29" fmla="*/ 203 h 711"/>
                <a:gd name="T30" fmla="*/ 191 w 846"/>
                <a:gd name="T31" fmla="*/ 50 h 711"/>
                <a:gd name="T32" fmla="*/ 356 w 846"/>
                <a:gd name="T33" fmla="*/ 8 h 711"/>
                <a:gd name="T34" fmla="*/ 635 w 846"/>
                <a:gd name="T35" fmla="*/ 44 h 711"/>
                <a:gd name="T36" fmla="*/ 719 w 846"/>
                <a:gd name="T37" fmla="*/ 203 h 711"/>
                <a:gd name="T38" fmla="*/ 614 w 846"/>
                <a:gd name="T39" fmla="*/ 176 h 711"/>
                <a:gd name="T40" fmla="*/ 578 w 846"/>
                <a:gd name="T41" fmla="*/ 113 h 711"/>
                <a:gd name="T42" fmla="*/ 470 w 846"/>
                <a:gd name="T43" fmla="*/ 95 h 711"/>
                <a:gd name="T44" fmla="*/ 353 w 846"/>
                <a:gd name="T45" fmla="*/ 95 h 711"/>
                <a:gd name="T46" fmla="*/ 254 w 846"/>
                <a:gd name="T47" fmla="*/ 113 h 711"/>
                <a:gd name="T48" fmla="*/ 218 w 846"/>
                <a:gd name="T49" fmla="*/ 176 h 711"/>
                <a:gd name="T50" fmla="*/ 188 w 846"/>
                <a:gd name="T51" fmla="*/ 248 h 711"/>
                <a:gd name="T52" fmla="*/ 644 w 846"/>
                <a:gd name="T53" fmla="*/ 245 h 711"/>
                <a:gd name="T54" fmla="*/ 614 w 846"/>
                <a:gd name="T55" fmla="*/ 176 h 711"/>
                <a:gd name="T56" fmla="*/ 233 w 846"/>
                <a:gd name="T57" fmla="*/ 458 h 711"/>
                <a:gd name="T58" fmla="*/ 311 w 846"/>
                <a:gd name="T59" fmla="*/ 419 h 711"/>
                <a:gd name="T60" fmla="*/ 263 w 846"/>
                <a:gd name="T61" fmla="*/ 383 h 711"/>
                <a:gd name="T62" fmla="*/ 164 w 846"/>
                <a:gd name="T63" fmla="*/ 383 h 711"/>
                <a:gd name="T64" fmla="*/ 233 w 846"/>
                <a:gd name="T65" fmla="*/ 458 h 711"/>
                <a:gd name="T66" fmla="*/ 635 w 846"/>
                <a:gd name="T67" fmla="*/ 365 h 711"/>
                <a:gd name="T68" fmla="*/ 530 w 846"/>
                <a:gd name="T69" fmla="*/ 398 h 711"/>
                <a:gd name="T70" fmla="*/ 539 w 846"/>
                <a:gd name="T71" fmla="*/ 455 h 711"/>
                <a:gd name="T72" fmla="*/ 602 w 846"/>
                <a:gd name="T73" fmla="*/ 458 h 711"/>
                <a:gd name="T74" fmla="*/ 671 w 846"/>
                <a:gd name="T75" fmla="*/ 389 h 711"/>
                <a:gd name="T76" fmla="*/ 635 w 846"/>
                <a:gd name="T77" fmla="*/ 365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46" h="711">
                  <a:moveTo>
                    <a:pt x="719" y="203"/>
                  </a:moveTo>
                  <a:cubicBezTo>
                    <a:pt x="743" y="189"/>
                    <a:pt x="793" y="168"/>
                    <a:pt x="818" y="197"/>
                  </a:cubicBezTo>
                  <a:cubicBezTo>
                    <a:pt x="846" y="229"/>
                    <a:pt x="830" y="317"/>
                    <a:pt x="764" y="299"/>
                  </a:cubicBezTo>
                  <a:cubicBezTo>
                    <a:pt x="786" y="349"/>
                    <a:pt x="800" y="480"/>
                    <a:pt x="800" y="587"/>
                  </a:cubicBezTo>
                  <a:cubicBezTo>
                    <a:pt x="800" y="634"/>
                    <a:pt x="805" y="674"/>
                    <a:pt x="779" y="689"/>
                  </a:cubicBezTo>
                  <a:cubicBezTo>
                    <a:pt x="760" y="700"/>
                    <a:pt x="703" y="704"/>
                    <a:pt x="677" y="689"/>
                  </a:cubicBezTo>
                  <a:cubicBezTo>
                    <a:pt x="656" y="676"/>
                    <a:pt x="656" y="645"/>
                    <a:pt x="656" y="605"/>
                  </a:cubicBezTo>
                  <a:cubicBezTo>
                    <a:pt x="504" y="620"/>
                    <a:pt x="330" y="621"/>
                    <a:pt x="179" y="605"/>
                  </a:cubicBezTo>
                  <a:cubicBezTo>
                    <a:pt x="174" y="641"/>
                    <a:pt x="178" y="676"/>
                    <a:pt x="155" y="689"/>
                  </a:cubicBezTo>
                  <a:cubicBezTo>
                    <a:pt x="118" y="711"/>
                    <a:pt x="45" y="694"/>
                    <a:pt x="35" y="668"/>
                  </a:cubicBezTo>
                  <a:cubicBezTo>
                    <a:pt x="27" y="647"/>
                    <a:pt x="32" y="605"/>
                    <a:pt x="32" y="569"/>
                  </a:cubicBezTo>
                  <a:cubicBezTo>
                    <a:pt x="32" y="478"/>
                    <a:pt x="46" y="350"/>
                    <a:pt x="68" y="302"/>
                  </a:cubicBezTo>
                  <a:cubicBezTo>
                    <a:pt x="45" y="296"/>
                    <a:pt x="23" y="302"/>
                    <a:pt x="11" y="281"/>
                  </a:cubicBezTo>
                  <a:cubicBezTo>
                    <a:pt x="0" y="263"/>
                    <a:pt x="0" y="217"/>
                    <a:pt x="11" y="200"/>
                  </a:cubicBezTo>
                  <a:cubicBezTo>
                    <a:pt x="31" y="169"/>
                    <a:pt x="87" y="183"/>
                    <a:pt x="110" y="203"/>
                  </a:cubicBezTo>
                  <a:cubicBezTo>
                    <a:pt x="139" y="155"/>
                    <a:pt x="146" y="90"/>
                    <a:pt x="191" y="50"/>
                  </a:cubicBezTo>
                  <a:cubicBezTo>
                    <a:pt x="231" y="15"/>
                    <a:pt x="292" y="12"/>
                    <a:pt x="356" y="8"/>
                  </a:cubicBezTo>
                  <a:cubicBezTo>
                    <a:pt x="453" y="1"/>
                    <a:pt x="579" y="0"/>
                    <a:pt x="635" y="44"/>
                  </a:cubicBezTo>
                  <a:cubicBezTo>
                    <a:pt x="685" y="83"/>
                    <a:pt x="692" y="149"/>
                    <a:pt x="719" y="203"/>
                  </a:cubicBezTo>
                  <a:close/>
                  <a:moveTo>
                    <a:pt x="614" y="176"/>
                  </a:moveTo>
                  <a:cubicBezTo>
                    <a:pt x="606" y="158"/>
                    <a:pt x="596" y="126"/>
                    <a:pt x="578" y="113"/>
                  </a:cubicBezTo>
                  <a:cubicBezTo>
                    <a:pt x="557" y="99"/>
                    <a:pt x="505" y="97"/>
                    <a:pt x="470" y="95"/>
                  </a:cubicBezTo>
                  <a:cubicBezTo>
                    <a:pt x="430" y="93"/>
                    <a:pt x="385" y="93"/>
                    <a:pt x="353" y="95"/>
                  </a:cubicBezTo>
                  <a:cubicBezTo>
                    <a:pt x="322" y="97"/>
                    <a:pt x="273" y="100"/>
                    <a:pt x="254" y="113"/>
                  </a:cubicBezTo>
                  <a:cubicBezTo>
                    <a:pt x="236" y="126"/>
                    <a:pt x="226" y="158"/>
                    <a:pt x="218" y="176"/>
                  </a:cubicBezTo>
                  <a:cubicBezTo>
                    <a:pt x="207" y="202"/>
                    <a:pt x="200" y="225"/>
                    <a:pt x="188" y="248"/>
                  </a:cubicBezTo>
                  <a:cubicBezTo>
                    <a:pt x="334" y="260"/>
                    <a:pt x="503" y="266"/>
                    <a:pt x="644" y="245"/>
                  </a:cubicBezTo>
                  <a:cubicBezTo>
                    <a:pt x="632" y="224"/>
                    <a:pt x="626" y="202"/>
                    <a:pt x="614" y="176"/>
                  </a:cubicBezTo>
                  <a:close/>
                  <a:moveTo>
                    <a:pt x="233" y="458"/>
                  </a:moveTo>
                  <a:cubicBezTo>
                    <a:pt x="278" y="458"/>
                    <a:pt x="314" y="457"/>
                    <a:pt x="311" y="419"/>
                  </a:cubicBezTo>
                  <a:cubicBezTo>
                    <a:pt x="309" y="399"/>
                    <a:pt x="293" y="392"/>
                    <a:pt x="263" y="383"/>
                  </a:cubicBezTo>
                  <a:cubicBezTo>
                    <a:pt x="227" y="372"/>
                    <a:pt x="184" y="353"/>
                    <a:pt x="164" y="383"/>
                  </a:cubicBezTo>
                  <a:cubicBezTo>
                    <a:pt x="150" y="449"/>
                    <a:pt x="172" y="458"/>
                    <a:pt x="233" y="458"/>
                  </a:cubicBezTo>
                  <a:close/>
                  <a:moveTo>
                    <a:pt x="635" y="365"/>
                  </a:moveTo>
                  <a:cubicBezTo>
                    <a:pt x="610" y="363"/>
                    <a:pt x="535" y="392"/>
                    <a:pt x="530" y="398"/>
                  </a:cubicBezTo>
                  <a:cubicBezTo>
                    <a:pt x="517" y="416"/>
                    <a:pt x="524" y="447"/>
                    <a:pt x="539" y="455"/>
                  </a:cubicBezTo>
                  <a:cubicBezTo>
                    <a:pt x="551" y="461"/>
                    <a:pt x="586" y="458"/>
                    <a:pt x="602" y="458"/>
                  </a:cubicBezTo>
                  <a:cubicBezTo>
                    <a:pt x="658" y="458"/>
                    <a:pt x="679" y="451"/>
                    <a:pt x="671" y="389"/>
                  </a:cubicBezTo>
                  <a:cubicBezTo>
                    <a:pt x="662" y="378"/>
                    <a:pt x="654" y="367"/>
                    <a:pt x="635" y="365"/>
                  </a:cubicBezTo>
                  <a:close/>
                </a:path>
              </a:pathLst>
            </a:custGeom>
            <a:solidFill>
              <a:srgbClr val="E93B5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</p:grpSp>
      <p:pic>
        <p:nvPicPr>
          <p:cNvPr id="63" name="Grafik 62"/>
          <p:cNvPicPr>
            <a:picLocks noChangeAspect="1"/>
          </p:cNvPicPr>
          <p:nvPr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2798" y="392230"/>
            <a:ext cx="518857" cy="475619"/>
          </a:xfrm>
          <a:prstGeom prst="rect">
            <a:avLst/>
          </a:prstGeom>
        </p:spPr>
      </p:pic>
      <p:sp>
        <p:nvSpPr>
          <p:cNvPr id="71" name="Titel 1"/>
          <p:cNvSpPr txBox="1">
            <a:spLocks/>
          </p:cNvSpPr>
          <p:nvPr/>
        </p:nvSpPr>
        <p:spPr>
          <a:xfrm>
            <a:off x="385267" y="1339157"/>
            <a:ext cx="105156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CH" sz="3200" dirty="0">
                <a:solidFill>
                  <a:srgbClr val="E93B58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adio in </a:t>
            </a:r>
            <a:r>
              <a:rPr lang="de-CH" sz="3200" dirty="0" err="1">
                <a:solidFill>
                  <a:srgbClr val="E93B58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witzerland</a:t>
            </a:r>
            <a:r>
              <a:rPr lang="de-CH" sz="3200" dirty="0">
                <a:solidFill>
                  <a:srgbClr val="E93B58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de-CH" sz="3200" dirty="0" err="1">
                <a:solidFill>
                  <a:srgbClr val="E93B58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goes</a:t>
            </a:r>
            <a:r>
              <a:rPr lang="de-CH" sz="3200" dirty="0">
                <a:solidFill>
                  <a:srgbClr val="E93B58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digital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dirty="0"/>
              <a:t>DIGIMIG -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research</a:t>
            </a:r>
            <a:r>
              <a:rPr lang="de-CH" dirty="0"/>
              <a:t> </a:t>
            </a:r>
            <a:r>
              <a:rPr lang="de-CH" dirty="0" err="1"/>
              <a:t>project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digital </a:t>
            </a:r>
            <a:r>
              <a:rPr lang="de-CH" dirty="0" err="1"/>
              <a:t>migration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radio</a:t>
            </a:r>
            <a:r>
              <a:rPr lang="de-CH" dirty="0"/>
              <a:t> </a:t>
            </a:r>
            <a:r>
              <a:rPr lang="de-CH" dirty="0" err="1"/>
              <a:t>usage</a:t>
            </a:r>
            <a:r>
              <a:rPr lang="de-CH" dirty="0"/>
              <a:t> in </a:t>
            </a:r>
            <a:r>
              <a:rPr lang="de-CH" dirty="0" err="1"/>
              <a:t>Switzerland</a:t>
            </a:r>
            <a:endParaRPr lang="de-CH" dirty="0"/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B4683B29-3612-4CF0-A5E5-EC1D222867E6}"/>
              </a:ext>
            </a:extLst>
          </p:cNvPr>
          <p:cNvGrpSpPr/>
          <p:nvPr/>
        </p:nvGrpSpPr>
        <p:grpSpPr>
          <a:xfrm>
            <a:off x="3574041" y="2185191"/>
            <a:ext cx="1554387" cy="2869796"/>
            <a:chOff x="5298908" y="2185191"/>
            <a:chExt cx="1554387" cy="2869796"/>
          </a:xfrm>
        </p:grpSpPr>
        <p:sp>
          <p:nvSpPr>
            <p:cNvPr id="27" name="Ellipse 26"/>
            <p:cNvSpPr/>
            <p:nvPr/>
          </p:nvSpPr>
          <p:spPr>
            <a:xfrm>
              <a:off x="5403792" y="2185191"/>
              <a:ext cx="1344618" cy="1344618"/>
            </a:xfrm>
            <a:prstGeom prst="ellipse">
              <a:avLst/>
            </a:prstGeom>
            <a:gradFill>
              <a:gsLst>
                <a:gs pos="100000">
                  <a:schemeClr val="bg1">
                    <a:lumMod val="95000"/>
                  </a:schemeClr>
                </a:gs>
                <a:gs pos="35000">
                  <a:schemeClr val="bg2">
                    <a:lumMod val="90000"/>
                  </a:schemeClr>
                </a:gs>
                <a:gs pos="1000">
                  <a:schemeClr val="bg2">
                    <a:lumMod val="75000"/>
                  </a:schemeClr>
                </a:gs>
                <a:gs pos="65000">
                  <a:schemeClr val="bg2"/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27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  <p:sp>
          <p:nvSpPr>
            <p:cNvPr id="41" name="Textfeld 40"/>
            <p:cNvSpPr txBox="1">
              <a:spLocks/>
            </p:cNvSpPr>
            <p:nvPr/>
          </p:nvSpPr>
          <p:spPr>
            <a:xfrm>
              <a:off x="5298908" y="3731548"/>
              <a:ext cx="1554387" cy="1323439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de-CH" sz="4000" dirty="0">
                  <a:solidFill>
                    <a:schemeClr val="accent1">
                      <a:lumMod val="75000"/>
                    </a:scheme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≥</a:t>
              </a:r>
              <a:r>
                <a:rPr lang="de-CH" sz="5400" dirty="0">
                  <a:solidFill>
                    <a:schemeClr val="accent1">
                      <a:lumMod val="75000"/>
                    </a:schemeClr>
                  </a:solidFill>
                  <a:latin typeface="+mj-lt"/>
                  <a:cs typeface="Calibri" panose="020F0502020204030204" pitchFamily="34" charset="0"/>
                </a:rPr>
                <a:t>73</a:t>
              </a:r>
              <a:r>
                <a:rPr lang="de-CH" sz="5400" dirty="0">
                  <a:solidFill>
                    <a:schemeClr val="accent1">
                      <a:lumMod val="75000"/>
                    </a:schemeClr>
                  </a:solidFill>
                  <a:latin typeface="+mj-lt"/>
                </a:rPr>
                <a:t>%</a:t>
              </a:r>
            </a:p>
            <a:p>
              <a:pPr algn="ctr"/>
              <a: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digital </a:t>
              </a:r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use</a:t>
              </a:r>
              <a: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 in all</a:t>
              </a:r>
            </a:p>
            <a:p>
              <a:pPr algn="ctr"/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language</a:t>
              </a:r>
              <a: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 </a:t>
              </a:r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regions</a:t>
              </a:r>
              <a:endParaRPr lang="de-CH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endParaRPr>
            </a:p>
          </p:txBody>
        </p:sp>
        <p:pic>
          <p:nvPicPr>
            <p:cNvPr id="4" name="Grafik 3">
              <a:extLst>
                <a:ext uri="{FF2B5EF4-FFF2-40B4-BE49-F238E27FC236}">
                  <a16:creationId xmlns:a16="http://schemas.microsoft.com/office/drawing/2014/main" id="{A6F32E3B-8566-4A35-9731-EBD6ACB3EAC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39152" y="2458641"/>
              <a:ext cx="1049125" cy="840737"/>
            </a:xfrm>
            <a:prstGeom prst="rect">
              <a:avLst/>
            </a:prstGeom>
          </p:spPr>
        </p:pic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FDE12784-6588-488F-ADC9-FE5A850A39AB}"/>
              </a:ext>
            </a:extLst>
          </p:cNvPr>
          <p:cNvGrpSpPr/>
          <p:nvPr/>
        </p:nvGrpSpPr>
        <p:grpSpPr>
          <a:xfrm>
            <a:off x="5208010" y="2185191"/>
            <a:ext cx="1640072" cy="2869796"/>
            <a:chOff x="6913378" y="2185191"/>
            <a:chExt cx="1640072" cy="2869796"/>
          </a:xfrm>
        </p:grpSpPr>
        <p:sp>
          <p:nvSpPr>
            <p:cNvPr id="30" name="Ellipse 29"/>
            <p:cNvSpPr/>
            <p:nvPr/>
          </p:nvSpPr>
          <p:spPr>
            <a:xfrm>
              <a:off x="7018261" y="2185191"/>
              <a:ext cx="1344618" cy="1344618"/>
            </a:xfrm>
            <a:prstGeom prst="ellipse">
              <a:avLst/>
            </a:prstGeom>
            <a:gradFill>
              <a:gsLst>
                <a:gs pos="100000">
                  <a:schemeClr val="bg1">
                    <a:lumMod val="95000"/>
                  </a:schemeClr>
                </a:gs>
                <a:gs pos="35000">
                  <a:schemeClr val="bg2">
                    <a:lumMod val="90000"/>
                  </a:schemeClr>
                </a:gs>
                <a:gs pos="1000">
                  <a:schemeClr val="bg2">
                    <a:lumMod val="75000"/>
                  </a:schemeClr>
                </a:gs>
                <a:gs pos="65000">
                  <a:schemeClr val="bg2"/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27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  <p:sp>
          <p:nvSpPr>
            <p:cNvPr id="42" name="Textfeld 41"/>
            <p:cNvSpPr txBox="1">
              <a:spLocks/>
            </p:cNvSpPr>
            <p:nvPr/>
          </p:nvSpPr>
          <p:spPr>
            <a:xfrm>
              <a:off x="6913378" y="3731548"/>
              <a:ext cx="1640072" cy="1323439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de-CH" sz="4000" dirty="0">
                  <a:solidFill>
                    <a:srgbClr val="FFC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≥</a:t>
              </a:r>
              <a:r>
                <a:rPr lang="de-CH" sz="5400" dirty="0">
                  <a:solidFill>
                    <a:srgbClr val="FFC000"/>
                  </a:solidFill>
                  <a:latin typeface="+mj-lt"/>
                  <a:cs typeface="Calibri" panose="020F0502020204030204" pitchFamily="34" charset="0"/>
                </a:rPr>
                <a:t>77</a:t>
              </a:r>
              <a:r>
                <a:rPr lang="de-CH" sz="5400" dirty="0">
                  <a:solidFill>
                    <a:srgbClr val="FFC000"/>
                  </a:solidFill>
                  <a:latin typeface="+mj-lt"/>
                </a:rPr>
                <a:t>%</a:t>
              </a:r>
            </a:p>
            <a:p>
              <a:pPr algn="ctr"/>
              <a: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digital </a:t>
              </a:r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use</a:t>
              </a:r>
              <a: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 in </a:t>
              </a:r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every</a:t>
              </a:r>
              <a:endParaRPr lang="de-CH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endParaRPr>
            </a:p>
            <a:p>
              <a:pPr algn="ctr"/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age</a:t>
              </a:r>
              <a: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 </a:t>
              </a:r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group</a:t>
              </a:r>
              <a:endParaRPr lang="de-CH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endParaRPr>
            </a:p>
          </p:txBody>
        </p:sp>
        <p:grpSp>
          <p:nvGrpSpPr>
            <p:cNvPr id="52" name="Gruppieren 51">
              <a:extLst>
                <a:ext uri="{FF2B5EF4-FFF2-40B4-BE49-F238E27FC236}">
                  <a16:creationId xmlns:a16="http://schemas.microsoft.com/office/drawing/2014/main" id="{04F5AB28-B662-41F4-A907-75CA61DC2875}"/>
                </a:ext>
              </a:extLst>
            </p:cNvPr>
            <p:cNvGrpSpPr/>
            <p:nvPr/>
          </p:nvGrpSpPr>
          <p:grpSpPr>
            <a:xfrm>
              <a:off x="7325157" y="2528453"/>
              <a:ext cx="720080" cy="680452"/>
              <a:chOff x="10978877" y="392945"/>
              <a:chExt cx="542696" cy="512830"/>
            </a:xfrm>
            <a:solidFill>
              <a:srgbClr val="FFC000"/>
            </a:solidFill>
          </p:grpSpPr>
          <p:sp>
            <p:nvSpPr>
              <p:cNvPr id="53" name="Freeform 6">
                <a:extLst>
                  <a:ext uri="{FF2B5EF4-FFF2-40B4-BE49-F238E27FC236}">
                    <a16:creationId xmlns:a16="http://schemas.microsoft.com/office/drawing/2014/main" id="{2B2030F6-C010-410A-8D6B-2A06989F71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60133" y="400748"/>
                <a:ext cx="98476" cy="72377"/>
              </a:xfrm>
              <a:custGeom>
                <a:avLst/>
                <a:gdLst>
                  <a:gd name="T0" fmla="*/ 86 w 155"/>
                  <a:gd name="T1" fmla="*/ 0 h 114"/>
                  <a:gd name="T2" fmla="*/ 110 w 155"/>
                  <a:gd name="T3" fmla="*/ 114 h 114"/>
                  <a:gd name="T4" fmla="*/ 83 w 155"/>
                  <a:gd name="T5" fmla="*/ 69 h 114"/>
                  <a:gd name="T6" fmla="*/ 62 w 155"/>
                  <a:gd name="T7" fmla="*/ 114 h 114"/>
                  <a:gd name="T8" fmla="*/ 77 w 155"/>
                  <a:gd name="T9" fmla="*/ 0 h 114"/>
                  <a:gd name="T10" fmla="*/ 82 w 155"/>
                  <a:gd name="T11" fmla="*/ 2 h 114"/>
                  <a:gd name="T12" fmla="*/ 86 w 155"/>
                  <a:gd name="T13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5" h="114">
                    <a:moveTo>
                      <a:pt x="86" y="0"/>
                    </a:moveTo>
                    <a:cubicBezTo>
                      <a:pt x="101" y="28"/>
                      <a:pt x="155" y="83"/>
                      <a:pt x="110" y="114"/>
                    </a:cubicBezTo>
                    <a:cubicBezTo>
                      <a:pt x="95" y="105"/>
                      <a:pt x="94" y="82"/>
                      <a:pt x="83" y="69"/>
                    </a:cubicBezTo>
                    <a:cubicBezTo>
                      <a:pt x="75" y="83"/>
                      <a:pt x="62" y="92"/>
                      <a:pt x="62" y="114"/>
                    </a:cubicBezTo>
                    <a:cubicBezTo>
                      <a:pt x="0" y="103"/>
                      <a:pt x="63" y="28"/>
                      <a:pt x="77" y="0"/>
                    </a:cubicBezTo>
                    <a:cubicBezTo>
                      <a:pt x="82" y="2"/>
                      <a:pt x="82" y="2"/>
                      <a:pt x="82" y="2"/>
                    </a:cubicBezTo>
                    <a:lnTo>
                      <a:pt x="8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CH"/>
              </a:p>
            </p:txBody>
          </p:sp>
          <p:sp>
            <p:nvSpPr>
              <p:cNvPr id="54" name="Freeform 7">
                <a:extLst>
                  <a:ext uri="{FF2B5EF4-FFF2-40B4-BE49-F238E27FC236}">
                    <a16:creationId xmlns:a16="http://schemas.microsoft.com/office/drawing/2014/main" id="{4E37C466-97D0-4FE8-8120-E667C22933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351795" y="400748"/>
                <a:ext cx="98745" cy="72377"/>
              </a:xfrm>
              <a:custGeom>
                <a:avLst/>
                <a:gdLst>
                  <a:gd name="T0" fmla="*/ 86 w 155"/>
                  <a:gd name="T1" fmla="*/ 0 h 114"/>
                  <a:gd name="T2" fmla="*/ 110 w 155"/>
                  <a:gd name="T3" fmla="*/ 114 h 114"/>
                  <a:gd name="T4" fmla="*/ 83 w 155"/>
                  <a:gd name="T5" fmla="*/ 69 h 114"/>
                  <a:gd name="T6" fmla="*/ 62 w 155"/>
                  <a:gd name="T7" fmla="*/ 114 h 114"/>
                  <a:gd name="T8" fmla="*/ 77 w 155"/>
                  <a:gd name="T9" fmla="*/ 0 h 114"/>
                  <a:gd name="T10" fmla="*/ 82 w 155"/>
                  <a:gd name="T11" fmla="*/ 2 h 114"/>
                  <a:gd name="T12" fmla="*/ 86 w 155"/>
                  <a:gd name="T13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5" h="114">
                    <a:moveTo>
                      <a:pt x="86" y="0"/>
                    </a:moveTo>
                    <a:cubicBezTo>
                      <a:pt x="101" y="28"/>
                      <a:pt x="155" y="83"/>
                      <a:pt x="110" y="114"/>
                    </a:cubicBezTo>
                    <a:cubicBezTo>
                      <a:pt x="96" y="105"/>
                      <a:pt x="94" y="82"/>
                      <a:pt x="83" y="69"/>
                    </a:cubicBezTo>
                    <a:cubicBezTo>
                      <a:pt x="74" y="82"/>
                      <a:pt x="63" y="93"/>
                      <a:pt x="62" y="114"/>
                    </a:cubicBezTo>
                    <a:cubicBezTo>
                      <a:pt x="0" y="103"/>
                      <a:pt x="63" y="27"/>
                      <a:pt x="77" y="0"/>
                    </a:cubicBezTo>
                    <a:cubicBezTo>
                      <a:pt x="82" y="2"/>
                      <a:pt x="82" y="2"/>
                      <a:pt x="82" y="2"/>
                    </a:cubicBezTo>
                    <a:lnTo>
                      <a:pt x="8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CH"/>
              </a:p>
            </p:txBody>
          </p:sp>
          <p:sp>
            <p:nvSpPr>
              <p:cNvPr id="55" name="Freeform 8">
                <a:extLst>
                  <a:ext uri="{FF2B5EF4-FFF2-40B4-BE49-F238E27FC236}">
                    <a16:creationId xmlns:a16="http://schemas.microsoft.com/office/drawing/2014/main" id="{93A2A1FF-0790-43D9-942A-0E214FD842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205157" y="392945"/>
                <a:ext cx="85023" cy="80718"/>
              </a:xfrm>
              <a:custGeom>
                <a:avLst/>
                <a:gdLst>
                  <a:gd name="T0" fmla="*/ 83 w 134"/>
                  <a:gd name="T1" fmla="*/ 0 h 127"/>
                  <a:gd name="T2" fmla="*/ 131 w 134"/>
                  <a:gd name="T3" fmla="*/ 99 h 127"/>
                  <a:gd name="T4" fmla="*/ 104 w 134"/>
                  <a:gd name="T5" fmla="*/ 126 h 127"/>
                  <a:gd name="T6" fmla="*/ 86 w 134"/>
                  <a:gd name="T7" fmla="*/ 81 h 127"/>
                  <a:gd name="T8" fmla="*/ 62 w 134"/>
                  <a:gd name="T9" fmla="*/ 126 h 127"/>
                  <a:gd name="T10" fmla="*/ 83 w 134"/>
                  <a:gd name="T11" fmla="*/ 0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4" h="127">
                    <a:moveTo>
                      <a:pt x="83" y="0"/>
                    </a:moveTo>
                    <a:cubicBezTo>
                      <a:pt x="89" y="27"/>
                      <a:pt x="134" y="66"/>
                      <a:pt x="131" y="99"/>
                    </a:cubicBezTo>
                    <a:cubicBezTo>
                      <a:pt x="130" y="110"/>
                      <a:pt x="124" y="127"/>
                      <a:pt x="104" y="126"/>
                    </a:cubicBezTo>
                    <a:cubicBezTo>
                      <a:pt x="105" y="104"/>
                      <a:pt x="89" y="99"/>
                      <a:pt x="86" y="81"/>
                    </a:cubicBezTo>
                    <a:cubicBezTo>
                      <a:pt x="74" y="92"/>
                      <a:pt x="67" y="108"/>
                      <a:pt x="62" y="126"/>
                    </a:cubicBezTo>
                    <a:cubicBezTo>
                      <a:pt x="0" y="111"/>
                      <a:pt x="73" y="31"/>
                      <a:pt x="8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CH"/>
              </a:p>
            </p:txBody>
          </p:sp>
          <p:sp>
            <p:nvSpPr>
              <p:cNvPr id="56" name="Freeform 9">
                <a:extLst>
                  <a:ext uri="{FF2B5EF4-FFF2-40B4-BE49-F238E27FC236}">
                    <a16:creationId xmlns:a16="http://schemas.microsoft.com/office/drawing/2014/main" id="{E73BA752-7254-4527-8649-4F591C65B1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20850" y="486578"/>
                <a:ext cx="463323" cy="255339"/>
              </a:xfrm>
              <a:custGeom>
                <a:avLst/>
                <a:gdLst>
                  <a:gd name="T0" fmla="*/ 166 w 729"/>
                  <a:gd name="T1" fmla="*/ 0 h 402"/>
                  <a:gd name="T2" fmla="*/ 166 w 729"/>
                  <a:gd name="T3" fmla="*/ 135 h 402"/>
                  <a:gd name="T4" fmla="*/ 352 w 729"/>
                  <a:gd name="T5" fmla="*/ 138 h 402"/>
                  <a:gd name="T6" fmla="*/ 352 w 729"/>
                  <a:gd name="T7" fmla="*/ 0 h 402"/>
                  <a:gd name="T8" fmla="*/ 394 w 729"/>
                  <a:gd name="T9" fmla="*/ 0 h 402"/>
                  <a:gd name="T10" fmla="*/ 394 w 729"/>
                  <a:gd name="T11" fmla="*/ 138 h 402"/>
                  <a:gd name="T12" fmla="*/ 583 w 729"/>
                  <a:gd name="T13" fmla="*/ 138 h 402"/>
                  <a:gd name="T14" fmla="*/ 583 w 729"/>
                  <a:gd name="T15" fmla="*/ 0 h 402"/>
                  <a:gd name="T16" fmla="*/ 625 w 729"/>
                  <a:gd name="T17" fmla="*/ 0 h 402"/>
                  <a:gd name="T18" fmla="*/ 625 w 729"/>
                  <a:gd name="T19" fmla="*/ 138 h 402"/>
                  <a:gd name="T20" fmla="*/ 706 w 729"/>
                  <a:gd name="T21" fmla="*/ 150 h 402"/>
                  <a:gd name="T22" fmla="*/ 721 w 729"/>
                  <a:gd name="T23" fmla="*/ 267 h 402"/>
                  <a:gd name="T24" fmla="*/ 646 w 729"/>
                  <a:gd name="T25" fmla="*/ 342 h 402"/>
                  <a:gd name="T26" fmla="*/ 478 w 729"/>
                  <a:gd name="T27" fmla="*/ 246 h 402"/>
                  <a:gd name="T28" fmla="*/ 424 w 729"/>
                  <a:gd name="T29" fmla="*/ 297 h 402"/>
                  <a:gd name="T30" fmla="*/ 367 w 729"/>
                  <a:gd name="T31" fmla="*/ 342 h 402"/>
                  <a:gd name="T32" fmla="*/ 196 w 729"/>
                  <a:gd name="T33" fmla="*/ 246 h 402"/>
                  <a:gd name="T34" fmla="*/ 37 w 729"/>
                  <a:gd name="T35" fmla="*/ 315 h 402"/>
                  <a:gd name="T36" fmla="*/ 7 w 729"/>
                  <a:gd name="T37" fmla="*/ 270 h 402"/>
                  <a:gd name="T38" fmla="*/ 13 w 729"/>
                  <a:gd name="T39" fmla="*/ 159 h 402"/>
                  <a:gd name="T40" fmla="*/ 121 w 729"/>
                  <a:gd name="T41" fmla="*/ 138 h 402"/>
                  <a:gd name="T42" fmla="*/ 124 w 729"/>
                  <a:gd name="T43" fmla="*/ 0 h 402"/>
                  <a:gd name="T44" fmla="*/ 166 w 729"/>
                  <a:gd name="T45" fmla="*/ 0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29" h="402">
                    <a:moveTo>
                      <a:pt x="166" y="0"/>
                    </a:moveTo>
                    <a:cubicBezTo>
                      <a:pt x="166" y="45"/>
                      <a:pt x="166" y="90"/>
                      <a:pt x="166" y="135"/>
                    </a:cubicBezTo>
                    <a:cubicBezTo>
                      <a:pt x="222" y="142"/>
                      <a:pt x="291" y="136"/>
                      <a:pt x="352" y="138"/>
                    </a:cubicBezTo>
                    <a:cubicBezTo>
                      <a:pt x="352" y="92"/>
                      <a:pt x="352" y="46"/>
                      <a:pt x="352" y="0"/>
                    </a:cubicBezTo>
                    <a:cubicBezTo>
                      <a:pt x="366" y="0"/>
                      <a:pt x="380" y="0"/>
                      <a:pt x="394" y="0"/>
                    </a:cubicBezTo>
                    <a:cubicBezTo>
                      <a:pt x="394" y="46"/>
                      <a:pt x="394" y="92"/>
                      <a:pt x="394" y="138"/>
                    </a:cubicBezTo>
                    <a:cubicBezTo>
                      <a:pt x="457" y="138"/>
                      <a:pt x="520" y="138"/>
                      <a:pt x="583" y="138"/>
                    </a:cubicBezTo>
                    <a:cubicBezTo>
                      <a:pt x="583" y="92"/>
                      <a:pt x="583" y="46"/>
                      <a:pt x="583" y="0"/>
                    </a:cubicBezTo>
                    <a:cubicBezTo>
                      <a:pt x="597" y="0"/>
                      <a:pt x="611" y="0"/>
                      <a:pt x="625" y="0"/>
                    </a:cubicBezTo>
                    <a:cubicBezTo>
                      <a:pt x="625" y="46"/>
                      <a:pt x="625" y="92"/>
                      <a:pt x="625" y="138"/>
                    </a:cubicBezTo>
                    <a:cubicBezTo>
                      <a:pt x="661" y="140"/>
                      <a:pt x="686" y="133"/>
                      <a:pt x="706" y="150"/>
                    </a:cubicBezTo>
                    <a:cubicBezTo>
                      <a:pt x="727" y="168"/>
                      <a:pt x="729" y="231"/>
                      <a:pt x="721" y="267"/>
                    </a:cubicBezTo>
                    <a:cubicBezTo>
                      <a:pt x="716" y="292"/>
                      <a:pt x="673" y="341"/>
                      <a:pt x="646" y="342"/>
                    </a:cubicBezTo>
                    <a:cubicBezTo>
                      <a:pt x="576" y="345"/>
                      <a:pt x="577" y="214"/>
                      <a:pt x="478" y="246"/>
                    </a:cubicBezTo>
                    <a:cubicBezTo>
                      <a:pt x="454" y="254"/>
                      <a:pt x="441" y="275"/>
                      <a:pt x="424" y="297"/>
                    </a:cubicBezTo>
                    <a:cubicBezTo>
                      <a:pt x="408" y="319"/>
                      <a:pt x="391" y="341"/>
                      <a:pt x="367" y="342"/>
                    </a:cubicBezTo>
                    <a:cubicBezTo>
                      <a:pt x="299" y="345"/>
                      <a:pt x="293" y="214"/>
                      <a:pt x="196" y="246"/>
                    </a:cubicBezTo>
                    <a:cubicBezTo>
                      <a:pt x="136" y="266"/>
                      <a:pt x="111" y="402"/>
                      <a:pt x="37" y="315"/>
                    </a:cubicBezTo>
                    <a:cubicBezTo>
                      <a:pt x="28" y="304"/>
                      <a:pt x="10" y="283"/>
                      <a:pt x="7" y="270"/>
                    </a:cubicBezTo>
                    <a:cubicBezTo>
                      <a:pt x="0" y="241"/>
                      <a:pt x="2" y="178"/>
                      <a:pt x="13" y="159"/>
                    </a:cubicBezTo>
                    <a:cubicBezTo>
                      <a:pt x="33" y="126"/>
                      <a:pt x="75" y="143"/>
                      <a:pt x="121" y="138"/>
                    </a:cubicBezTo>
                    <a:cubicBezTo>
                      <a:pt x="128" y="98"/>
                      <a:pt x="122" y="45"/>
                      <a:pt x="124" y="0"/>
                    </a:cubicBezTo>
                    <a:cubicBezTo>
                      <a:pt x="138" y="0"/>
                      <a:pt x="152" y="0"/>
                      <a:pt x="16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CH"/>
              </a:p>
            </p:txBody>
          </p:sp>
          <p:sp>
            <p:nvSpPr>
              <p:cNvPr id="57" name="Freeform 10">
                <a:extLst>
                  <a:ext uri="{FF2B5EF4-FFF2-40B4-BE49-F238E27FC236}">
                    <a16:creationId xmlns:a16="http://schemas.microsoft.com/office/drawing/2014/main" id="{E726C202-202C-4D80-907C-8A6F68E457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022734" y="648015"/>
                <a:ext cx="458749" cy="164396"/>
              </a:xfrm>
              <a:custGeom>
                <a:avLst/>
                <a:gdLst>
                  <a:gd name="T0" fmla="*/ 718 w 722"/>
                  <a:gd name="T1" fmla="*/ 76 h 259"/>
                  <a:gd name="T2" fmla="*/ 715 w 722"/>
                  <a:gd name="T3" fmla="*/ 259 h 259"/>
                  <a:gd name="T4" fmla="*/ 7 w 722"/>
                  <a:gd name="T5" fmla="*/ 259 h 259"/>
                  <a:gd name="T6" fmla="*/ 4 w 722"/>
                  <a:gd name="T7" fmla="*/ 79 h 259"/>
                  <a:gd name="T8" fmla="*/ 16 w 722"/>
                  <a:gd name="T9" fmla="*/ 85 h 259"/>
                  <a:gd name="T10" fmla="*/ 106 w 722"/>
                  <a:gd name="T11" fmla="*/ 115 h 259"/>
                  <a:gd name="T12" fmla="*/ 238 w 722"/>
                  <a:gd name="T13" fmla="*/ 19 h 259"/>
                  <a:gd name="T14" fmla="*/ 385 w 722"/>
                  <a:gd name="T15" fmla="*/ 115 h 259"/>
                  <a:gd name="T16" fmla="*/ 442 w 722"/>
                  <a:gd name="T17" fmla="*/ 64 h 259"/>
                  <a:gd name="T18" fmla="*/ 499 w 722"/>
                  <a:gd name="T19" fmla="*/ 16 h 259"/>
                  <a:gd name="T20" fmla="*/ 655 w 722"/>
                  <a:gd name="T21" fmla="*/ 118 h 259"/>
                  <a:gd name="T22" fmla="*/ 718 w 722"/>
                  <a:gd name="T23" fmla="*/ 76 h 259"/>
                  <a:gd name="T24" fmla="*/ 202 w 722"/>
                  <a:gd name="T25" fmla="*/ 142 h 259"/>
                  <a:gd name="T26" fmla="*/ 241 w 722"/>
                  <a:gd name="T27" fmla="*/ 124 h 259"/>
                  <a:gd name="T28" fmla="*/ 202 w 722"/>
                  <a:gd name="T29" fmla="*/ 142 h 259"/>
                  <a:gd name="T30" fmla="*/ 505 w 722"/>
                  <a:gd name="T31" fmla="*/ 154 h 259"/>
                  <a:gd name="T32" fmla="*/ 514 w 722"/>
                  <a:gd name="T33" fmla="*/ 118 h 259"/>
                  <a:gd name="T34" fmla="*/ 505 w 722"/>
                  <a:gd name="T35" fmla="*/ 154 h 259"/>
                  <a:gd name="T36" fmla="*/ 91 w 722"/>
                  <a:gd name="T37" fmla="*/ 217 h 259"/>
                  <a:gd name="T38" fmla="*/ 118 w 722"/>
                  <a:gd name="T39" fmla="*/ 184 h 259"/>
                  <a:gd name="T40" fmla="*/ 91 w 722"/>
                  <a:gd name="T41" fmla="*/ 217 h 259"/>
                  <a:gd name="T42" fmla="*/ 370 w 722"/>
                  <a:gd name="T43" fmla="*/ 178 h 259"/>
                  <a:gd name="T44" fmla="*/ 352 w 722"/>
                  <a:gd name="T45" fmla="*/ 181 h 259"/>
                  <a:gd name="T46" fmla="*/ 370 w 722"/>
                  <a:gd name="T47" fmla="*/ 178 h 259"/>
                  <a:gd name="T48" fmla="*/ 661 w 722"/>
                  <a:gd name="T49" fmla="*/ 196 h 259"/>
                  <a:gd name="T50" fmla="*/ 622 w 722"/>
                  <a:gd name="T51" fmla="*/ 208 h 259"/>
                  <a:gd name="T52" fmla="*/ 661 w 722"/>
                  <a:gd name="T53" fmla="*/ 196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22" h="259">
                    <a:moveTo>
                      <a:pt x="718" y="76"/>
                    </a:moveTo>
                    <a:cubicBezTo>
                      <a:pt x="716" y="136"/>
                      <a:pt x="722" y="204"/>
                      <a:pt x="715" y="259"/>
                    </a:cubicBezTo>
                    <a:cubicBezTo>
                      <a:pt x="479" y="259"/>
                      <a:pt x="243" y="259"/>
                      <a:pt x="7" y="259"/>
                    </a:cubicBezTo>
                    <a:cubicBezTo>
                      <a:pt x="0" y="205"/>
                      <a:pt x="6" y="138"/>
                      <a:pt x="4" y="79"/>
                    </a:cubicBezTo>
                    <a:cubicBezTo>
                      <a:pt x="8" y="67"/>
                      <a:pt x="16" y="85"/>
                      <a:pt x="16" y="85"/>
                    </a:cubicBezTo>
                    <a:cubicBezTo>
                      <a:pt x="34" y="104"/>
                      <a:pt x="61" y="128"/>
                      <a:pt x="106" y="115"/>
                    </a:cubicBezTo>
                    <a:cubicBezTo>
                      <a:pt x="159" y="100"/>
                      <a:pt x="176" y="0"/>
                      <a:pt x="238" y="19"/>
                    </a:cubicBezTo>
                    <a:cubicBezTo>
                      <a:pt x="284" y="33"/>
                      <a:pt x="294" y="141"/>
                      <a:pt x="385" y="115"/>
                    </a:cubicBezTo>
                    <a:cubicBezTo>
                      <a:pt x="408" y="109"/>
                      <a:pt x="428" y="84"/>
                      <a:pt x="442" y="64"/>
                    </a:cubicBezTo>
                    <a:cubicBezTo>
                      <a:pt x="460" y="39"/>
                      <a:pt x="473" y="17"/>
                      <a:pt x="499" y="16"/>
                    </a:cubicBezTo>
                    <a:cubicBezTo>
                      <a:pt x="561" y="15"/>
                      <a:pt x="563" y="131"/>
                      <a:pt x="655" y="118"/>
                    </a:cubicBezTo>
                    <a:cubicBezTo>
                      <a:pt x="684" y="114"/>
                      <a:pt x="698" y="89"/>
                      <a:pt x="718" y="76"/>
                    </a:cubicBezTo>
                    <a:close/>
                    <a:moveTo>
                      <a:pt x="202" y="142"/>
                    </a:moveTo>
                    <a:cubicBezTo>
                      <a:pt x="208" y="161"/>
                      <a:pt x="249" y="160"/>
                      <a:pt x="241" y="124"/>
                    </a:cubicBezTo>
                    <a:cubicBezTo>
                      <a:pt x="224" y="104"/>
                      <a:pt x="195" y="120"/>
                      <a:pt x="202" y="142"/>
                    </a:cubicBezTo>
                    <a:close/>
                    <a:moveTo>
                      <a:pt x="505" y="154"/>
                    </a:moveTo>
                    <a:cubicBezTo>
                      <a:pt x="518" y="151"/>
                      <a:pt x="524" y="133"/>
                      <a:pt x="514" y="118"/>
                    </a:cubicBezTo>
                    <a:cubicBezTo>
                      <a:pt x="469" y="100"/>
                      <a:pt x="472" y="161"/>
                      <a:pt x="505" y="154"/>
                    </a:cubicBezTo>
                    <a:close/>
                    <a:moveTo>
                      <a:pt x="91" y="217"/>
                    </a:moveTo>
                    <a:cubicBezTo>
                      <a:pt x="116" y="222"/>
                      <a:pt x="127" y="203"/>
                      <a:pt x="118" y="184"/>
                    </a:cubicBezTo>
                    <a:cubicBezTo>
                      <a:pt x="95" y="162"/>
                      <a:pt x="66" y="200"/>
                      <a:pt x="91" y="217"/>
                    </a:cubicBezTo>
                    <a:close/>
                    <a:moveTo>
                      <a:pt x="370" y="178"/>
                    </a:moveTo>
                    <a:cubicBezTo>
                      <a:pt x="365" y="180"/>
                      <a:pt x="352" y="174"/>
                      <a:pt x="352" y="181"/>
                    </a:cubicBezTo>
                    <a:cubicBezTo>
                      <a:pt x="306" y="222"/>
                      <a:pt x="414" y="229"/>
                      <a:pt x="370" y="178"/>
                    </a:cubicBezTo>
                    <a:close/>
                    <a:moveTo>
                      <a:pt x="661" y="196"/>
                    </a:moveTo>
                    <a:cubicBezTo>
                      <a:pt x="659" y="173"/>
                      <a:pt x="614" y="166"/>
                      <a:pt x="622" y="208"/>
                    </a:cubicBezTo>
                    <a:cubicBezTo>
                      <a:pt x="638" y="227"/>
                      <a:pt x="662" y="214"/>
                      <a:pt x="661" y="19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CH"/>
              </a:p>
            </p:txBody>
          </p:sp>
          <p:sp>
            <p:nvSpPr>
              <p:cNvPr id="64" name="Freeform 11">
                <a:extLst>
                  <a:ext uri="{FF2B5EF4-FFF2-40B4-BE49-F238E27FC236}">
                    <a16:creationId xmlns:a16="http://schemas.microsoft.com/office/drawing/2014/main" id="{770EDC16-A57D-43B2-AB6D-89DC6730CD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978877" y="827209"/>
                <a:ext cx="542696" cy="78566"/>
              </a:xfrm>
              <a:custGeom>
                <a:avLst/>
                <a:gdLst>
                  <a:gd name="T0" fmla="*/ 844 w 854"/>
                  <a:gd name="T1" fmla="*/ 16 h 124"/>
                  <a:gd name="T2" fmla="*/ 844 w 854"/>
                  <a:gd name="T3" fmla="*/ 109 h 124"/>
                  <a:gd name="T4" fmla="*/ 745 w 854"/>
                  <a:gd name="T5" fmla="*/ 118 h 124"/>
                  <a:gd name="T6" fmla="*/ 112 w 854"/>
                  <a:gd name="T7" fmla="*/ 118 h 124"/>
                  <a:gd name="T8" fmla="*/ 16 w 854"/>
                  <a:gd name="T9" fmla="*/ 109 h 124"/>
                  <a:gd name="T10" fmla="*/ 34 w 854"/>
                  <a:gd name="T11" fmla="*/ 7 h 124"/>
                  <a:gd name="T12" fmla="*/ 139 w 854"/>
                  <a:gd name="T13" fmla="*/ 7 h 124"/>
                  <a:gd name="T14" fmla="*/ 751 w 854"/>
                  <a:gd name="T15" fmla="*/ 7 h 124"/>
                  <a:gd name="T16" fmla="*/ 844 w 854"/>
                  <a:gd name="T17" fmla="*/ 16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54" h="124">
                    <a:moveTo>
                      <a:pt x="844" y="16"/>
                    </a:moveTo>
                    <a:cubicBezTo>
                      <a:pt x="854" y="36"/>
                      <a:pt x="854" y="89"/>
                      <a:pt x="844" y="109"/>
                    </a:cubicBezTo>
                    <a:cubicBezTo>
                      <a:pt x="815" y="124"/>
                      <a:pt x="778" y="118"/>
                      <a:pt x="745" y="118"/>
                    </a:cubicBezTo>
                    <a:cubicBezTo>
                      <a:pt x="540" y="118"/>
                      <a:pt x="322" y="118"/>
                      <a:pt x="112" y="118"/>
                    </a:cubicBezTo>
                    <a:cubicBezTo>
                      <a:pt x="80" y="118"/>
                      <a:pt x="45" y="124"/>
                      <a:pt x="16" y="109"/>
                    </a:cubicBezTo>
                    <a:cubicBezTo>
                      <a:pt x="6" y="79"/>
                      <a:pt x="0" y="16"/>
                      <a:pt x="34" y="7"/>
                    </a:cubicBezTo>
                    <a:cubicBezTo>
                      <a:pt x="60" y="0"/>
                      <a:pt x="105" y="7"/>
                      <a:pt x="139" y="7"/>
                    </a:cubicBezTo>
                    <a:cubicBezTo>
                      <a:pt x="340" y="7"/>
                      <a:pt x="549" y="7"/>
                      <a:pt x="751" y="7"/>
                    </a:cubicBezTo>
                    <a:cubicBezTo>
                      <a:pt x="783" y="7"/>
                      <a:pt x="817" y="1"/>
                      <a:pt x="844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CH"/>
              </a:p>
            </p:txBody>
          </p:sp>
        </p:grpSp>
      </p:grp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2D277642-FEB8-4735-8619-85F93E251B01}"/>
              </a:ext>
            </a:extLst>
          </p:cNvPr>
          <p:cNvGrpSpPr/>
          <p:nvPr/>
        </p:nvGrpSpPr>
        <p:grpSpPr>
          <a:xfrm>
            <a:off x="10195604" y="2185191"/>
            <a:ext cx="1554387" cy="3116017"/>
            <a:chOff x="8527848" y="2185191"/>
            <a:chExt cx="1554387" cy="3116017"/>
          </a:xfrm>
        </p:grpSpPr>
        <p:sp>
          <p:nvSpPr>
            <p:cNvPr id="32" name="Ellipse 31"/>
            <p:cNvSpPr/>
            <p:nvPr/>
          </p:nvSpPr>
          <p:spPr>
            <a:xfrm>
              <a:off x="8632731" y="2185191"/>
              <a:ext cx="1344618" cy="1344618"/>
            </a:xfrm>
            <a:prstGeom prst="ellipse">
              <a:avLst/>
            </a:prstGeom>
            <a:gradFill>
              <a:gsLst>
                <a:gs pos="100000">
                  <a:schemeClr val="bg1">
                    <a:lumMod val="95000"/>
                  </a:schemeClr>
                </a:gs>
                <a:gs pos="35000">
                  <a:schemeClr val="bg2">
                    <a:lumMod val="90000"/>
                  </a:schemeClr>
                </a:gs>
                <a:gs pos="1000">
                  <a:schemeClr val="bg2">
                    <a:lumMod val="75000"/>
                  </a:schemeClr>
                </a:gs>
                <a:gs pos="65000">
                  <a:schemeClr val="bg2"/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27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  <p:sp>
          <p:nvSpPr>
            <p:cNvPr id="39" name="Textfeld 38"/>
            <p:cNvSpPr txBox="1">
              <a:spLocks/>
            </p:cNvSpPr>
            <p:nvPr/>
          </p:nvSpPr>
          <p:spPr>
            <a:xfrm>
              <a:off x="8527848" y="3731548"/>
              <a:ext cx="1554387" cy="1569660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de-CH" sz="5400" dirty="0">
                  <a:solidFill>
                    <a:srgbClr val="E75F0B"/>
                  </a:solidFill>
                  <a:latin typeface="+mj-lt"/>
                </a:rPr>
                <a:t>10%</a:t>
              </a:r>
            </a:p>
            <a:p>
              <a:pPr algn="ctr"/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of</a:t>
              </a:r>
              <a: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 </a:t>
              </a:r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the</a:t>
              </a:r>
              <a: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 </a:t>
              </a:r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population</a:t>
              </a:r>
              <a:endParaRPr lang="de-CH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endParaRPr>
            </a:p>
            <a:p>
              <a:pPr algn="ctr"/>
              <a: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still listen </a:t>
              </a:r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only</a:t>
              </a:r>
              <a: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 </a:t>
              </a:r>
            </a:p>
            <a:p>
              <a:pPr algn="ctr"/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to</a:t>
              </a:r>
              <a: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 FM Radio</a:t>
              </a:r>
            </a:p>
          </p:txBody>
        </p:sp>
        <p:pic>
          <p:nvPicPr>
            <p:cNvPr id="51" name="Grafik 50">
              <a:extLst>
                <a:ext uri="{FF2B5EF4-FFF2-40B4-BE49-F238E27FC236}">
                  <a16:creationId xmlns:a16="http://schemas.microsoft.com/office/drawing/2014/main" id="{5677763C-7AD1-4E76-9F23-4083F044D51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sharpenSoften amount="20000"/>
                      </a14:imgEffect>
                      <a14:imgEffect>
                        <a14:colorTemperature colorTemp="4156"/>
                      </a14:imgEffect>
                      <a14:imgEffect>
                        <a14:saturation sat="311000"/>
                      </a14:imgEffect>
                      <a14:imgEffect>
                        <a14:brightnessContrast bright="-35000" contrast="3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39280" y="2391828"/>
              <a:ext cx="973164" cy="950131"/>
            </a:xfrm>
            <a:prstGeom prst="rect">
              <a:avLst/>
            </a:prstGeom>
          </p:spPr>
        </p:pic>
      </p:grp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8C89CEED-269A-4B5F-965C-F41B50F4E59A}"/>
              </a:ext>
            </a:extLst>
          </p:cNvPr>
          <p:cNvGrpSpPr/>
          <p:nvPr/>
        </p:nvGrpSpPr>
        <p:grpSpPr>
          <a:xfrm>
            <a:off x="8561633" y="2185191"/>
            <a:ext cx="1554387" cy="3116017"/>
            <a:chOff x="3684438" y="2185191"/>
            <a:chExt cx="1554387" cy="3116017"/>
          </a:xfrm>
        </p:grpSpPr>
        <p:sp>
          <p:nvSpPr>
            <p:cNvPr id="25" name="Ellipse 24"/>
            <p:cNvSpPr/>
            <p:nvPr/>
          </p:nvSpPr>
          <p:spPr>
            <a:xfrm>
              <a:off x="3789322" y="2185191"/>
              <a:ext cx="1344618" cy="1344618"/>
            </a:xfrm>
            <a:prstGeom prst="ellipse">
              <a:avLst/>
            </a:prstGeom>
            <a:gradFill>
              <a:gsLst>
                <a:gs pos="100000">
                  <a:schemeClr val="bg1">
                    <a:lumMod val="95000"/>
                  </a:schemeClr>
                </a:gs>
                <a:gs pos="35000">
                  <a:schemeClr val="bg2">
                    <a:lumMod val="90000"/>
                  </a:schemeClr>
                </a:gs>
                <a:gs pos="1000">
                  <a:schemeClr val="bg2">
                    <a:lumMod val="75000"/>
                  </a:schemeClr>
                </a:gs>
                <a:gs pos="65000">
                  <a:schemeClr val="bg2"/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27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  <p:sp>
          <p:nvSpPr>
            <p:cNvPr id="38" name="Textfeld 37"/>
            <p:cNvSpPr txBox="1">
              <a:spLocks/>
            </p:cNvSpPr>
            <p:nvPr/>
          </p:nvSpPr>
          <p:spPr>
            <a:xfrm>
              <a:off x="3684438" y="3731548"/>
              <a:ext cx="1554387" cy="1569660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de-CH" sz="5400" dirty="0">
                  <a:solidFill>
                    <a:srgbClr val="68A042"/>
                  </a:solidFill>
                  <a:latin typeface="+mj-lt"/>
                </a:rPr>
                <a:t>41%</a:t>
              </a:r>
            </a:p>
            <a:p>
              <a:pPr algn="ctr"/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of</a:t>
              </a:r>
              <a: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 </a:t>
              </a:r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the</a:t>
              </a:r>
              <a: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 </a:t>
              </a:r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population</a:t>
              </a:r>
              <a:endParaRPr lang="de-CH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endParaRPr>
            </a:p>
            <a:p>
              <a:pPr algn="ctr"/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use</a:t>
              </a:r>
              <a:r>
                <a:rPr lang="de-CH" sz="16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 digital </a:t>
              </a:r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radio</a:t>
              </a:r>
              <a:endParaRPr lang="de-CH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endParaRPr>
            </a:p>
            <a:p>
              <a:pPr algn="ctr"/>
              <a:r>
                <a:rPr lang="de-CH" sz="16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exclusively</a:t>
              </a:r>
              <a:endParaRPr lang="de-CH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endParaRPr>
            </a:p>
          </p:txBody>
        </p:sp>
        <p:pic>
          <p:nvPicPr>
            <p:cNvPr id="62" name="Grafik 61">
              <a:extLst>
                <a:ext uri="{FF2B5EF4-FFF2-40B4-BE49-F238E27FC236}">
                  <a16:creationId xmlns:a16="http://schemas.microsoft.com/office/drawing/2014/main" id="{3C5DF9E2-A1BE-4AAB-94AD-F48072A5E0F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duotone>
                <a:prstClr val="black"/>
                <a:schemeClr val="accent6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artisticMarker/>
                      </a14:imgEffect>
                      <a14:imgEffect>
                        <a14:sharpenSoften amount="-1000"/>
                      </a14:imgEffect>
                      <a14:imgEffect>
                        <a14:colorTemperature colorTemp="1500"/>
                      </a14:imgEffect>
                      <a14:imgEffect>
                        <a14:saturation sat="250000"/>
                      </a14:imgEffect>
                      <a14:imgEffect>
                        <a14:brightnessContrast brigh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9045" y="2584179"/>
              <a:ext cx="930453" cy="546641"/>
            </a:xfrm>
            <a:prstGeom prst="rect">
              <a:avLst/>
            </a:prstGeom>
          </p:spPr>
        </p:pic>
      </p:grpSp>
      <p:sp>
        <p:nvSpPr>
          <p:cNvPr id="58" name="Textfeld 57">
            <a:extLst>
              <a:ext uri="{FF2B5EF4-FFF2-40B4-BE49-F238E27FC236}">
                <a16:creationId xmlns:a16="http://schemas.microsoft.com/office/drawing/2014/main" id="{19B7F327-DE7F-47E5-AF2B-47204958833B}"/>
              </a:ext>
            </a:extLst>
          </p:cNvPr>
          <p:cNvSpPr txBox="1"/>
          <p:nvPr/>
        </p:nvSpPr>
        <p:spPr>
          <a:xfrm>
            <a:off x="371475" y="6613882"/>
            <a:ext cx="795023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ource: GfK Switzerland, </a:t>
            </a:r>
            <a:r>
              <a:rPr lang="de-CH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DigiMig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urvey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, n(2023/2)=2’725)</a:t>
            </a:r>
          </a:p>
        </p:txBody>
      </p:sp>
    </p:spTree>
    <p:extLst>
      <p:ext uri="{BB962C8B-B14F-4D97-AF65-F5344CB8AC3E}">
        <p14:creationId xmlns:p14="http://schemas.microsoft.com/office/powerpoint/2010/main" val="3980584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" name="Diagramm 108">
            <a:extLst>
              <a:ext uri="{FF2B5EF4-FFF2-40B4-BE49-F238E27FC236}">
                <a16:creationId xmlns:a16="http://schemas.microsoft.com/office/drawing/2014/main" id="{5A427200-C387-48B2-B864-EC8EDA7C0CD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4313085"/>
              </p:ext>
            </p:extLst>
          </p:nvPr>
        </p:nvGraphicFramePr>
        <p:xfrm>
          <a:off x="301928" y="1076129"/>
          <a:ext cx="11431743" cy="47291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51" name="Objekt 5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7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51" name="Objekt 50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7" hidden="1">
            <a:extLst>
              <a:ext uri="{FF2B5EF4-FFF2-40B4-BE49-F238E27FC236}">
                <a16:creationId xmlns:a16="http://schemas.microsoft.com/office/drawing/2014/main" id="{6FAD4168-377D-4AA2-986A-5EA46253186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CH" sz="28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cxnSp>
        <p:nvCxnSpPr>
          <p:cNvPr id="79" name="Gerade Verbindung 78"/>
          <p:cNvCxnSpPr/>
          <p:nvPr/>
        </p:nvCxnSpPr>
        <p:spPr>
          <a:xfrm>
            <a:off x="371475" y="1270165"/>
            <a:ext cx="11353800" cy="0"/>
          </a:xfrm>
          <a:prstGeom prst="line">
            <a:avLst/>
          </a:prstGeom>
          <a:ln w="19050">
            <a:gradFill flip="none" rotWithShape="1">
              <a:gsLst>
                <a:gs pos="43000">
                  <a:srgbClr val="DA1838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hteck 80"/>
          <p:cNvSpPr/>
          <p:nvPr/>
        </p:nvSpPr>
        <p:spPr>
          <a:xfrm>
            <a:off x="10994832" y="1628800"/>
            <a:ext cx="615977" cy="4153065"/>
          </a:xfrm>
          <a:prstGeom prst="rect">
            <a:avLst/>
          </a:prstGeom>
          <a:noFill/>
          <a:ln w="19050">
            <a:solidFill>
              <a:srgbClr val="DA18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Cambria" panose="02040503050406030204" pitchFamily="18" charset="0"/>
                <a:ea typeface="Cambria" panose="02040503050406030204" pitchFamily="18" charset="0"/>
              </a:rPr>
              <a:t>Switzerland listens to the radio digitally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E18C1E-C518-44FC-8499-CA04C5B7C512}" type="slidenum">
              <a:rPr lang="en-GB" smtClean="0"/>
              <a:t>2</a:t>
            </a:fld>
            <a:endParaRPr lang="en-GB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85266" y="928688"/>
            <a:ext cx="11399365" cy="249299"/>
          </a:xfrm>
        </p:spPr>
        <p:txBody>
          <a:bodyPr/>
          <a:lstStyle/>
          <a:p>
            <a:r>
              <a:rPr lang="en-GB" b="0" dirty="0"/>
              <a:t>80% of all </a:t>
            </a:r>
            <a:r>
              <a:rPr lang="en-GB" sz="1800" b="0" dirty="0"/>
              <a:t>radio minutes listened to are via digital radio.</a:t>
            </a:r>
          </a:p>
        </p:txBody>
      </p:sp>
      <p:sp>
        <p:nvSpPr>
          <p:cNvPr id="52" name="Textfeld 51"/>
          <p:cNvSpPr txBox="1"/>
          <p:nvPr/>
        </p:nvSpPr>
        <p:spPr>
          <a:xfrm>
            <a:off x="371472" y="6309320"/>
            <a:ext cx="1123933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ource: GfK Switzerland, </a:t>
            </a:r>
            <a:r>
              <a:rPr lang="en-GB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DigiMig</a:t>
            </a:r>
            <a:r>
              <a:rPr lang="en-GB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survey, n(2015/2)=2’453, n(2016/1)=2’526, n(2016/2)=2’531, n(2017/1)=2’504, n(2017/2)=2’519, n(2018/1)=2’673, n(2018/2)=2’761, n(2019/1)=2’740, n(2019/2)=2’800 , n(2020/1)=2’625, n(2020/2)=2’671, n(2021/1): 2’670, n(2021/2)=2’801, n(2022/1)=2’789, n(2022/2)=2’841, n(2023/1)=2’756), n(2023/2)=2’725</a:t>
            </a:r>
          </a:p>
        </p:txBody>
      </p:sp>
      <p:sp>
        <p:nvSpPr>
          <p:cNvPr id="80" name="Inhaltsplatzhalter 5"/>
          <p:cNvSpPr txBox="1">
            <a:spLocks/>
          </p:cNvSpPr>
          <p:nvPr/>
        </p:nvSpPr>
        <p:spPr>
          <a:xfrm>
            <a:off x="371475" y="1364643"/>
            <a:ext cx="11327356" cy="1938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adio usage volume (in per cent) by mode of reception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DIGIMIG - The research project on the digital migration of radio usage in Switzerland</a:t>
            </a:r>
          </a:p>
        </p:txBody>
      </p:sp>
      <p:sp>
        <p:nvSpPr>
          <p:cNvPr id="124" name="Ellipse 123">
            <a:extLst>
              <a:ext uri="{FF2B5EF4-FFF2-40B4-BE49-F238E27FC236}">
                <a16:creationId xmlns:a16="http://schemas.microsoft.com/office/drawing/2014/main" id="{9D398633-2D85-4E82-9249-EC6DF353E604}"/>
              </a:ext>
            </a:extLst>
          </p:cNvPr>
          <p:cNvSpPr/>
          <p:nvPr/>
        </p:nvSpPr>
        <p:spPr>
          <a:xfrm>
            <a:off x="10890812" y="282575"/>
            <a:ext cx="720000" cy="720000"/>
          </a:xfrm>
          <a:prstGeom prst="ellipse">
            <a:avLst/>
          </a:prstGeom>
          <a:gradFill>
            <a:gsLst>
              <a:gs pos="100000">
                <a:srgbClr val="F5A1AF"/>
              </a:gs>
              <a:gs pos="35000">
                <a:srgbClr val="DA1838"/>
              </a:gs>
              <a:gs pos="1000">
                <a:srgbClr val="A2122A"/>
              </a:gs>
              <a:gs pos="65000">
                <a:srgbClr val="EC526C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125" name="Gruppieren 124">
            <a:extLst>
              <a:ext uri="{FF2B5EF4-FFF2-40B4-BE49-F238E27FC236}">
                <a16:creationId xmlns:a16="http://schemas.microsoft.com/office/drawing/2014/main" id="{164B605D-5A92-4943-9AAC-69C3DE499B38}"/>
              </a:ext>
            </a:extLst>
          </p:cNvPr>
          <p:cNvGrpSpPr/>
          <p:nvPr/>
        </p:nvGrpSpPr>
        <p:grpSpPr>
          <a:xfrm>
            <a:off x="10994833" y="398148"/>
            <a:ext cx="489784" cy="446838"/>
            <a:chOff x="4948237" y="573088"/>
            <a:chExt cx="3132138" cy="2857500"/>
          </a:xfrm>
          <a:solidFill>
            <a:schemeClr val="bg1"/>
          </a:solidFill>
        </p:grpSpPr>
        <p:sp>
          <p:nvSpPr>
            <p:cNvPr id="126" name="Freeform 7">
              <a:extLst>
                <a:ext uri="{FF2B5EF4-FFF2-40B4-BE49-F238E27FC236}">
                  <a16:creationId xmlns:a16="http://schemas.microsoft.com/office/drawing/2014/main" id="{E1724923-5078-4755-8892-38E41132ED5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8237" y="573088"/>
              <a:ext cx="3132138" cy="2032000"/>
            </a:xfrm>
            <a:custGeom>
              <a:avLst/>
              <a:gdLst>
                <a:gd name="T0" fmla="*/ 739 w 835"/>
                <a:gd name="T1" fmla="*/ 175 h 542"/>
                <a:gd name="T2" fmla="*/ 679 w 835"/>
                <a:gd name="T3" fmla="*/ 250 h 542"/>
                <a:gd name="T4" fmla="*/ 136 w 835"/>
                <a:gd name="T5" fmla="*/ 535 h 542"/>
                <a:gd name="T6" fmla="*/ 16 w 835"/>
                <a:gd name="T7" fmla="*/ 523 h 542"/>
                <a:gd name="T8" fmla="*/ 16 w 835"/>
                <a:gd name="T9" fmla="*/ 463 h 542"/>
                <a:gd name="T10" fmla="*/ 109 w 835"/>
                <a:gd name="T11" fmla="*/ 448 h 542"/>
                <a:gd name="T12" fmla="*/ 661 w 835"/>
                <a:gd name="T13" fmla="*/ 124 h 542"/>
                <a:gd name="T14" fmla="*/ 589 w 835"/>
                <a:gd name="T15" fmla="*/ 73 h 542"/>
                <a:gd name="T16" fmla="*/ 742 w 835"/>
                <a:gd name="T17" fmla="*/ 16 h 542"/>
                <a:gd name="T18" fmla="*/ 823 w 835"/>
                <a:gd name="T19" fmla="*/ 154 h 542"/>
                <a:gd name="T20" fmla="*/ 787 w 835"/>
                <a:gd name="T21" fmla="*/ 229 h 542"/>
                <a:gd name="T22" fmla="*/ 739 w 835"/>
                <a:gd name="T23" fmla="*/ 175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5" h="542">
                  <a:moveTo>
                    <a:pt x="739" y="175"/>
                  </a:moveTo>
                  <a:cubicBezTo>
                    <a:pt x="714" y="194"/>
                    <a:pt x="701" y="226"/>
                    <a:pt x="679" y="250"/>
                  </a:cubicBezTo>
                  <a:cubicBezTo>
                    <a:pt x="556" y="390"/>
                    <a:pt x="380" y="510"/>
                    <a:pt x="136" y="535"/>
                  </a:cubicBezTo>
                  <a:cubicBezTo>
                    <a:pt x="92" y="540"/>
                    <a:pt x="32" y="542"/>
                    <a:pt x="16" y="523"/>
                  </a:cubicBezTo>
                  <a:cubicBezTo>
                    <a:pt x="0" y="504"/>
                    <a:pt x="5" y="476"/>
                    <a:pt x="16" y="463"/>
                  </a:cubicBezTo>
                  <a:cubicBezTo>
                    <a:pt x="30" y="446"/>
                    <a:pt x="72" y="450"/>
                    <a:pt x="109" y="448"/>
                  </a:cubicBezTo>
                  <a:cubicBezTo>
                    <a:pt x="360" y="434"/>
                    <a:pt x="551" y="288"/>
                    <a:pt x="661" y="124"/>
                  </a:cubicBezTo>
                  <a:cubicBezTo>
                    <a:pt x="604" y="139"/>
                    <a:pt x="581" y="107"/>
                    <a:pt x="589" y="73"/>
                  </a:cubicBezTo>
                  <a:cubicBezTo>
                    <a:pt x="599" y="31"/>
                    <a:pt x="689" y="28"/>
                    <a:pt x="742" y="16"/>
                  </a:cubicBezTo>
                  <a:cubicBezTo>
                    <a:pt x="813" y="0"/>
                    <a:pt x="813" y="98"/>
                    <a:pt x="823" y="154"/>
                  </a:cubicBezTo>
                  <a:cubicBezTo>
                    <a:pt x="829" y="186"/>
                    <a:pt x="835" y="229"/>
                    <a:pt x="787" y="229"/>
                  </a:cubicBezTo>
                  <a:cubicBezTo>
                    <a:pt x="757" y="229"/>
                    <a:pt x="744" y="206"/>
                    <a:pt x="739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7" name="Freeform 8">
              <a:extLst>
                <a:ext uri="{FF2B5EF4-FFF2-40B4-BE49-F238E27FC236}">
                  <a16:creationId xmlns:a16="http://schemas.microsoft.com/office/drawing/2014/main" id="{DE81E76B-2232-4EAF-9194-34EACB8A836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26313" y="1784350"/>
              <a:ext cx="574675" cy="1646238"/>
            </a:xfrm>
            <a:custGeom>
              <a:avLst/>
              <a:gdLst>
                <a:gd name="T0" fmla="*/ 132 w 153"/>
                <a:gd name="T1" fmla="*/ 431 h 439"/>
                <a:gd name="T2" fmla="*/ 15 w 153"/>
                <a:gd name="T3" fmla="*/ 428 h 439"/>
                <a:gd name="T4" fmla="*/ 6 w 153"/>
                <a:gd name="T5" fmla="*/ 332 h 439"/>
                <a:gd name="T6" fmla="*/ 6 w 153"/>
                <a:gd name="T7" fmla="*/ 227 h 439"/>
                <a:gd name="T8" fmla="*/ 12 w 153"/>
                <a:gd name="T9" fmla="*/ 26 h 439"/>
                <a:gd name="T10" fmla="*/ 138 w 153"/>
                <a:gd name="T11" fmla="*/ 23 h 439"/>
                <a:gd name="T12" fmla="*/ 147 w 153"/>
                <a:gd name="T13" fmla="*/ 122 h 439"/>
                <a:gd name="T14" fmla="*/ 147 w 153"/>
                <a:gd name="T15" fmla="*/ 338 h 439"/>
                <a:gd name="T16" fmla="*/ 132 w 153"/>
                <a:gd name="T17" fmla="*/ 431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3" h="439">
                  <a:moveTo>
                    <a:pt x="132" y="431"/>
                  </a:moveTo>
                  <a:cubicBezTo>
                    <a:pt x="100" y="435"/>
                    <a:pt x="42" y="439"/>
                    <a:pt x="15" y="428"/>
                  </a:cubicBezTo>
                  <a:cubicBezTo>
                    <a:pt x="0" y="401"/>
                    <a:pt x="6" y="366"/>
                    <a:pt x="6" y="332"/>
                  </a:cubicBezTo>
                  <a:cubicBezTo>
                    <a:pt x="6" y="298"/>
                    <a:pt x="6" y="262"/>
                    <a:pt x="6" y="227"/>
                  </a:cubicBezTo>
                  <a:cubicBezTo>
                    <a:pt x="6" y="157"/>
                    <a:pt x="1" y="85"/>
                    <a:pt x="12" y="26"/>
                  </a:cubicBezTo>
                  <a:cubicBezTo>
                    <a:pt x="40" y="14"/>
                    <a:pt x="115" y="0"/>
                    <a:pt x="138" y="23"/>
                  </a:cubicBezTo>
                  <a:cubicBezTo>
                    <a:pt x="153" y="38"/>
                    <a:pt x="147" y="88"/>
                    <a:pt x="147" y="122"/>
                  </a:cubicBezTo>
                  <a:cubicBezTo>
                    <a:pt x="147" y="197"/>
                    <a:pt x="147" y="266"/>
                    <a:pt x="147" y="338"/>
                  </a:cubicBezTo>
                  <a:cubicBezTo>
                    <a:pt x="147" y="376"/>
                    <a:pt x="153" y="413"/>
                    <a:pt x="132" y="4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8" name="Freeform 9">
              <a:extLst>
                <a:ext uri="{FF2B5EF4-FFF2-40B4-BE49-F238E27FC236}">
                  <a16:creationId xmlns:a16="http://schemas.microsoft.com/office/drawing/2014/main" id="{6B49721C-E56E-44FD-B3D9-3FE66D36E7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1138" y="2368550"/>
              <a:ext cx="596900" cy="1057275"/>
            </a:xfrm>
            <a:custGeom>
              <a:avLst/>
              <a:gdLst>
                <a:gd name="T0" fmla="*/ 147 w 159"/>
                <a:gd name="T1" fmla="*/ 17 h 282"/>
                <a:gd name="T2" fmla="*/ 153 w 159"/>
                <a:gd name="T3" fmla="*/ 146 h 282"/>
                <a:gd name="T4" fmla="*/ 144 w 159"/>
                <a:gd name="T5" fmla="*/ 272 h 282"/>
                <a:gd name="T6" fmla="*/ 21 w 159"/>
                <a:gd name="T7" fmla="*/ 272 h 282"/>
                <a:gd name="T8" fmla="*/ 12 w 159"/>
                <a:gd name="T9" fmla="*/ 137 h 282"/>
                <a:gd name="T10" fmla="*/ 39 w 159"/>
                <a:gd name="T11" fmla="*/ 5 h 282"/>
                <a:gd name="T12" fmla="*/ 147 w 159"/>
                <a:gd name="T13" fmla="*/ 17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9" h="282">
                  <a:moveTo>
                    <a:pt x="147" y="17"/>
                  </a:moveTo>
                  <a:cubicBezTo>
                    <a:pt x="157" y="52"/>
                    <a:pt x="153" y="101"/>
                    <a:pt x="153" y="146"/>
                  </a:cubicBezTo>
                  <a:cubicBezTo>
                    <a:pt x="153" y="192"/>
                    <a:pt x="159" y="240"/>
                    <a:pt x="144" y="272"/>
                  </a:cubicBezTo>
                  <a:cubicBezTo>
                    <a:pt x="115" y="282"/>
                    <a:pt x="50" y="282"/>
                    <a:pt x="21" y="272"/>
                  </a:cubicBezTo>
                  <a:cubicBezTo>
                    <a:pt x="7" y="243"/>
                    <a:pt x="12" y="192"/>
                    <a:pt x="12" y="137"/>
                  </a:cubicBezTo>
                  <a:cubicBezTo>
                    <a:pt x="12" y="92"/>
                    <a:pt x="0" y="12"/>
                    <a:pt x="39" y="5"/>
                  </a:cubicBezTo>
                  <a:cubicBezTo>
                    <a:pt x="67" y="0"/>
                    <a:pt x="127" y="2"/>
                    <a:pt x="147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9" name="Freeform 10">
              <a:extLst>
                <a:ext uri="{FF2B5EF4-FFF2-40B4-BE49-F238E27FC236}">
                  <a16:creationId xmlns:a16="http://schemas.microsoft.com/office/drawing/2014/main" id="{1F63C970-5B50-404D-8927-93B376AFD7F1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3113" y="2668588"/>
              <a:ext cx="561975" cy="757238"/>
            </a:xfrm>
            <a:custGeom>
              <a:avLst/>
              <a:gdLst>
                <a:gd name="T0" fmla="*/ 135 w 150"/>
                <a:gd name="T1" fmla="*/ 9 h 202"/>
                <a:gd name="T2" fmla="*/ 144 w 150"/>
                <a:gd name="T3" fmla="*/ 102 h 202"/>
                <a:gd name="T4" fmla="*/ 135 w 150"/>
                <a:gd name="T5" fmla="*/ 192 h 202"/>
                <a:gd name="T6" fmla="*/ 15 w 150"/>
                <a:gd name="T7" fmla="*/ 192 h 202"/>
                <a:gd name="T8" fmla="*/ 6 w 150"/>
                <a:gd name="T9" fmla="*/ 99 h 202"/>
                <a:gd name="T10" fmla="*/ 15 w 150"/>
                <a:gd name="T11" fmla="*/ 9 h 202"/>
                <a:gd name="T12" fmla="*/ 135 w 150"/>
                <a:gd name="T13" fmla="*/ 9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202">
                  <a:moveTo>
                    <a:pt x="135" y="9"/>
                  </a:moveTo>
                  <a:cubicBezTo>
                    <a:pt x="149" y="29"/>
                    <a:pt x="144" y="68"/>
                    <a:pt x="144" y="102"/>
                  </a:cubicBezTo>
                  <a:cubicBezTo>
                    <a:pt x="144" y="135"/>
                    <a:pt x="150" y="173"/>
                    <a:pt x="135" y="192"/>
                  </a:cubicBezTo>
                  <a:cubicBezTo>
                    <a:pt x="107" y="202"/>
                    <a:pt x="43" y="202"/>
                    <a:pt x="15" y="192"/>
                  </a:cubicBezTo>
                  <a:cubicBezTo>
                    <a:pt x="0" y="173"/>
                    <a:pt x="6" y="133"/>
                    <a:pt x="6" y="99"/>
                  </a:cubicBezTo>
                  <a:cubicBezTo>
                    <a:pt x="6" y="66"/>
                    <a:pt x="1" y="28"/>
                    <a:pt x="15" y="9"/>
                  </a:cubicBezTo>
                  <a:cubicBezTo>
                    <a:pt x="44" y="0"/>
                    <a:pt x="106" y="0"/>
                    <a:pt x="135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30" name="Freeform 11">
              <a:extLst>
                <a:ext uri="{FF2B5EF4-FFF2-40B4-BE49-F238E27FC236}">
                  <a16:creationId xmlns:a16="http://schemas.microsoft.com/office/drawing/2014/main" id="{CD1CF303-6FAB-48A5-B4B3-5326C3B7149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2225" y="2800350"/>
              <a:ext cx="577850" cy="630238"/>
            </a:xfrm>
            <a:custGeom>
              <a:avLst/>
              <a:gdLst>
                <a:gd name="T0" fmla="*/ 140 w 154"/>
                <a:gd name="T1" fmla="*/ 10 h 168"/>
                <a:gd name="T2" fmla="*/ 140 w 154"/>
                <a:gd name="T3" fmla="*/ 157 h 168"/>
                <a:gd name="T4" fmla="*/ 20 w 154"/>
                <a:gd name="T5" fmla="*/ 160 h 168"/>
                <a:gd name="T6" fmla="*/ 17 w 154"/>
                <a:gd name="T7" fmla="*/ 10 h 168"/>
                <a:gd name="T8" fmla="*/ 140 w 154"/>
                <a:gd name="T9" fmla="*/ 1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4" h="168">
                  <a:moveTo>
                    <a:pt x="140" y="10"/>
                  </a:moveTo>
                  <a:cubicBezTo>
                    <a:pt x="154" y="44"/>
                    <a:pt x="154" y="123"/>
                    <a:pt x="140" y="157"/>
                  </a:cubicBezTo>
                  <a:cubicBezTo>
                    <a:pt x="111" y="168"/>
                    <a:pt x="53" y="164"/>
                    <a:pt x="20" y="160"/>
                  </a:cubicBezTo>
                  <a:cubicBezTo>
                    <a:pt x="0" y="131"/>
                    <a:pt x="3" y="43"/>
                    <a:pt x="17" y="10"/>
                  </a:cubicBezTo>
                  <a:cubicBezTo>
                    <a:pt x="46" y="0"/>
                    <a:pt x="111" y="1"/>
                    <a:pt x="14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897597C7-7298-401A-87F4-7CFCE75F9ADD}"/>
              </a:ext>
            </a:extLst>
          </p:cNvPr>
          <p:cNvGrpSpPr/>
          <p:nvPr/>
        </p:nvGrpSpPr>
        <p:grpSpPr>
          <a:xfrm>
            <a:off x="737184" y="2753084"/>
            <a:ext cx="169277" cy="1290278"/>
            <a:chOff x="1020269" y="2236934"/>
            <a:chExt cx="169277" cy="1290278"/>
          </a:xfrm>
        </p:grpSpPr>
        <p:sp>
          <p:nvSpPr>
            <p:cNvPr id="110" name="Inhaltsplatzhalter 5">
              <a:extLst>
                <a:ext uri="{FF2B5EF4-FFF2-40B4-BE49-F238E27FC236}">
                  <a16:creationId xmlns:a16="http://schemas.microsoft.com/office/drawing/2014/main" id="{881D7539-9DA6-4B03-A43F-03C973593244}"/>
                </a:ext>
              </a:extLst>
            </p:cNvPr>
            <p:cNvSpPr txBox="1">
              <a:spLocks/>
            </p:cNvSpPr>
            <p:nvPr/>
          </p:nvSpPr>
          <p:spPr>
            <a:xfrm rot="16200000">
              <a:off x="821623" y="2435580"/>
              <a:ext cx="566569" cy="1692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en-GB" sz="1100" dirty="0">
                  <a:solidFill>
                    <a:schemeClr val="bg1"/>
                  </a:solidFill>
                </a:rPr>
                <a:t>Digital</a:t>
              </a:r>
              <a:endParaRPr lang="en-GB" sz="1200" dirty="0">
                <a:solidFill>
                  <a:schemeClr val="bg1"/>
                </a:solidFill>
              </a:endParaRPr>
            </a:p>
          </p:txBody>
        </p:sp>
        <p:sp>
          <p:nvSpPr>
            <p:cNvPr id="111" name="Inhaltsplatzhalter 5">
              <a:extLst>
                <a:ext uri="{FF2B5EF4-FFF2-40B4-BE49-F238E27FC236}">
                  <a16:creationId xmlns:a16="http://schemas.microsoft.com/office/drawing/2014/main" id="{A793C078-BE32-48B6-9114-1B9459522DC4}"/>
                </a:ext>
              </a:extLst>
            </p:cNvPr>
            <p:cNvSpPr txBox="1">
              <a:spLocks/>
            </p:cNvSpPr>
            <p:nvPr/>
          </p:nvSpPr>
          <p:spPr>
            <a:xfrm rot="16200000">
              <a:off x="821623" y="3159289"/>
              <a:ext cx="566569" cy="1692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3pPr>
              <a:lvl4pPr marL="542925" indent="-180975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»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4pPr>
              <a:lvl5pPr marL="714375" indent="-1714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Wingdings" panose="05000000000000000000" pitchFamily="2" charset="2"/>
                <a:buChar char="§"/>
                <a:defRPr sz="18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00000"/>
                </a:lnSpc>
                <a:spcBef>
                  <a:spcPts val="0"/>
                </a:spcBef>
              </a:pPr>
              <a:r>
                <a:rPr lang="en-GB" sz="1100" dirty="0">
                  <a:solidFill>
                    <a:schemeClr val="bg1"/>
                  </a:solidFill>
                </a:rPr>
                <a:t>Analogue</a:t>
              </a:r>
              <a:endParaRPr lang="en-GB" sz="1200" dirty="0">
                <a:solidFill>
                  <a:schemeClr val="bg1"/>
                </a:solidFill>
              </a:endParaRPr>
            </a:p>
          </p:txBody>
        </p:sp>
      </p:grpSp>
      <p:pic>
        <p:nvPicPr>
          <p:cNvPr id="147" name="Grafik 146">
            <a:extLst>
              <a:ext uri="{FF2B5EF4-FFF2-40B4-BE49-F238E27FC236}">
                <a16:creationId xmlns:a16="http://schemas.microsoft.com/office/drawing/2014/main" id="{1B48F7EB-4888-468A-8FF7-B7D8834CD48D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7756"/>
          <a:stretch/>
        </p:blipFill>
        <p:spPr>
          <a:xfrm>
            <a:off x="551384" y="4668455"/>
            <a:ext cx="488734" cy="344721"/>
          </a:xfrm>
          <a:prstGeom prst="rect">
            <a:avLst/>
          </a:prstGeom>
        </p:spPr>
      </p:pic>
      <p:pic>
        <p:nvPicPr>
          <p:cNvPr id="153" name="Grafik 152">
            <a:extLst>
              <a:ext uri="{FF2B5EF4-FFF2-40B4-BE49-F238E27FC236}">
                <a16:creationId xmlns:a16="http://schemas.microsoft.com/office/drawing/2014/main" id="{6D8F47CD-05FA-4858-9F71-53655091038E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31267" b="28082"/>
          <a:stretch/>
        </p:blipFill>
        <p:spPr>
          <a:xfrm>
            <a:off x="572107" y="1860751"/>
            <a:ext cx="445670" cy="272661"/>
          </a:xfrm>
          <a:prstGeom prst="rect">
            <a:avLst/>
          </a:prstGeom>
        </p:spPr>
      </p:pic>
      <p:pic>
        <p:nvPicPr>
          <p:cNvPr id="154" name="Grafik 153">
            <a:extLst>
              <a:ext uri="{FF2B5EF4-FFF2-40B4-BE49-F238E27FC236}">
                <a16:creationId xmlns:a16="http://schemas.microsoft.com/office/drawing/2014/main" id="{F24F302B-6CE6-4E82-A4C8-DE07B62412B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1901" y="2180666"/>
            <a:ext cx="304503" cy="178539"/>
          </a:xfrm>
          <a:prstGeom prst="rect">
            <a:avLst/>
          </a:prstGeom>
        </p:spPr>
      </p:pic>
      <p:sp>
        <p:nvSpPr>
          <p:cNvPr id="27" name="Textfeld 26">
            <a:extLst>
              <a:ext uri="{FF2B5EF4-FFF2-40B4-BE49-F238E27FC236}">
                <a16:creationId xmlns:a16="http://schemas.microsoft.com/office/drawing/2014/main" id="{79AC3EAB-3974-403C-B710-BCFFAAAD49BE}"/>
              </a:ext>
            </a:extLst>
          </p:cNvPr>
          <p:cNvSpPr txBox="1"/>
          <p:nvPr/>
        </p:nvSpPr>
        <p:spPr>
          <a:xfrm>
            <a:off x="11492846" y="4598196"/>
            <a:ext cx="481649" cy="226591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 anchor="ctr" anchorCtr="0">
            <a:spAutoFit/>
          </a:bodyPr>
          <a:lstStyle/>
          <a:p>
            <a:pPr algn="ctr"/>
            <a:r>
              <a:rPr lang="en-GB" sz="1000" dirty="0">
                <a:solidFill>
                  <a:srgbClr val="F2B800"/>
                </a:solidFill>
              </a:rPr>
              <a:t>± 1.5</a:t>
            </a:r>
          </a:p>
        </p:txBody>
      </p:sp>
      <p:cxnSp>
        <p:nvCxnSpPr>
          <p:cNvPr id="28" name="Verbinder: gewinkelt 27">
            <a:extLst>
              <a:ext uri="{FF2B5EF4-FFF2-40B4-BE49-F238E27FC236}">
                <a16:creationId xmlns:a16="http://schemas.microsoft.com/office/drawing/2014/main" id="{FF9E4E92-5744-4463-956C-9166730E418A}"/>
              </a:ext>
            </a:extLst>
          </p:cNvPr>
          <p:cNvCxnSpPr>
            <a:cxnSpLocks/>
          </p:cNvCxnSpPr>
          <p:nvPr/>
        </p:nvCxnSpPr>
        <p:spPr>
          <a:xfrm rot="5400000">
            <a:off x="10961519" y="5391731"/>
            <a:ext cx="1326275" cy="148349"/>
          </a:xfrm>
          <a:prstGeom prst="bentConnector2">
            <a:avLst/>
          </a:prstGeom>
          <a:ln w="12700"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6" name="Textfeld 5">
            <a:extLst>
              <a:ext uri="{FF2B5EF4-FFF2-40B4-BE49-F238E27FC236}">
                <a16:creationId xmlns:a16="http://schemas.microsoft.com/office/drawing/2014/main" id="{37546DA7-0401-4434-191C-F08BC5023E4C}"/>
              </a:ext>
            </a:extLst>
          </p:cNvPr>
          <p:cNvSpPr txBox="1"/>
          <p:nvPr/>
        </p:nvSpPr>
        <p:spPr>
          <a:xfrm>
            <a:off x="6168009" y="5930050"/>
            <a:ext cx="5382472" cy="338554"/>
          </a:xfrm>
          <a:prstGeom prst="rect">
            <a:avLst/>
          </a:prstGeom>
          <a:solidFill>
            <a:schemeClr val="accent4"/>
          </a:solidFill>
        </p:spPr>
        <p:txBody>
          <a:bodyPr wrap="square" rtlCol="0" anchor="ctr" anchorCtr="0">
            <a:spAutoFit/>
          </a:bodyPr>
          <a:lstStyle>
            <a:defPPr>
              <a:defRPr lang="de-DE"/>
            </a:defPPr>
            <a:lvl1pPr>
              <a:defRPr sz="1100">
                <a:solidFill>
                  <a:schemeClr val="accent4">
                    <a:lumMod val="50000"/>
                  </a:schemeClr>
                </a:solidFill>
                <a:latin typeface="SRG SSR Type Light" panose="020B0504030602030204" pitchFamily="34" charset="0"/>
              </a:defRPr>
            </a:lvl1pPr>
          </a:lstStyle>
          <a:p>
            <a:pPr algn="ctr"/>
            <a:r>
              <a:rPr lang="en-GB" sz="800" dirty="0">
                <a:latin typeface="+mj-lt"/>
              </a:rPr>
              <a:t>Example: the maximum sampling error of ± 1.5 percentage points (pp) at a confidence level of 95% means that the proportion of analogue radio usage would fall between 18.5% and 21.5% in 95% of cases if the survey were repeated.</a:t>
            </a:r>
          </a:p>
        </p:txBody>
      </p:sp>
    </p:spTree>
    <p:extLst>
      <p:ext uri="{BB962C8B-B14F-4D97-AF65-F5344CB8AC3E}">
        <p14:creationId xmlns:p14="http://schemas.microsoft.com/office/powerpoint/2010/main" val="2506594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1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3643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2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17" name="Objekt 1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4" name="Rechteck 253" hidden="1">
            <a:extLst>
              <a:ext uri="{FF2B5EF4-FFF2-40B4-BE49-F238E27FC236}">
                <a16:creationId xmlns:a16="http://schemas.microsoft.com/office/drawing/2014/main" id="{8F46CEF3-742D-4794-A2B8-494B4DD0885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CH" sz="28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E18C1E-C518-44FC-8499-CA04C5B7C512}" type="slidenum">
              <a:rPr lang="en-GB" smtClean="0"/>
              <a:t>3</a:t>
            </a:fld>
            <a:endParaRPr lang="en-GB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85266" y="1011825"/>
            <a:ext cx="11399365" cy="235449"/>
          </a:xfrm>
        </p:spPr>
        <p:txBody>
          <a:bodyPr/>
          <a:lstStyle/>
          <a:p>
            <a:r>
              <a:rPr lang="en-GB" sz="1700" b="0" dirty="0"/>
              <a:t>41 out of every 100 minutes of radio listened to are via DAB+, 39% via internet and 20% via FM radio.</a:t>
            </a:r>
          </a:p>
        </p:txBody>
      </p:sp>
      <p:sp>
        <p:nvSpPr>
          <p:cNvPr id="37" name="Inhaltsplatzhalter 5"/>
          <p:cNvSpPr txBox="1">
            <a:spLocks/>
          </p:cNvSpPr>
          <p:nvPr/>
        </p:nvSpPr>
        <p:spPr>
          <a:xfrm>
            <a:off x="371475" y="1364643"/>
            <a:ext cx="11327356" cy="1938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adio usage volume (in per cent) by mode of reception</a:t>
            </a: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DIGIMIG - The research project on the digital migration of radio use in Switzerland</a:t>
            </a:r>
          </a:p>
        </p:txBody>
      </p:sp>
      <p:cxnSp>
        <p:nvCxnSpPr>
          <p:cNvPr id="88" name="Gerade Verbindung 87"/>
          <p:cNvCxnSpPr/>
          <p:nvPr/>
        </p:nvCxnSpPr>
        <p:spPr>
          <a:xfrm>
            <a:off x="371475" y="1270165"/>
            <a:ext cx="11353800" cy="0"/>
          </a:xfrm>
          <a:prstGeom prst="line">
            <a:avLst/>
          </a:prstGeom>
          <a:ln w="19050">
            <a:gradFill flip="none" rotWithShape="1">
              <a:gsLst>
                <a:gs pos="43000">
                  <a:srgbClr val="DA1838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" name="Ellipse 255">
            <a:extLst>
              <a:ext uri="{FF2B5EF4-FFF2-40B4-BE49-F238E27FC236}">
                <a16:creationId xmlns:a16="http://schemas.microsoft.com/office/drawing/2014/main" id="{20BFAF40-409C-4215-90E1-3A3568E2370C}"/>
              </a:ext>
            </a:extLst>
          </p:cNvPr>
          <p:cNvSpPr/>
          <p:nvPr/>
        </p:nvSpPr>
        <p:spPr>
          <a:xfrm>
            <a:off x="10890812" y="282575"/>
            <a:ext cx="720000" cy="720000"/>
          </a:xfrm>
          <a:prstGeom prst="ellipse">
            <a:avLst/>
          </a:prstGeom>
          <a:gradFill>
            <a:gsLst>
              <a:gs pos="100000">
                <a:srgbClr val="F5A1AF"/>
              </a:gs>
              <a:gs pos="35000">
                <a:srgbClr val="DA1838"/>
              </a:gs>
              <a:gs pos="1000">
                <a:srgbClr val="A2122A"/>
              </a:gs>
              <a:gs pos="65000">
                <a:srgbClr val="EC526C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257" name="Gruppieren 256">
            <a:extLst>
              <a:ext uri="{FF2B5EF4-FFF2-40B4-BE49-F238E27FC236}">
                <a16:creationId xmlns:a16="http://schemas.microsoft.com/office/drawing/2014/main" id="{D0417175-017E-4DC2-BDE8-AFE68B6CEC78}"/>
              </a:ext>
            </a:extLst>
          </p:cNvPr>
          <p:cNvGrpSpPr/>
          <p:nvPr/>
        </p:nvGrpSpPr>
        <p:grpSpPr>
          <a:xfrm>
            <a:off x="10994833" y="398148"/>
            <a:ext cx="489784" cy="446838"/>
            <a:chOff x="4948237" y="573088"/>
            <a:chExt cx="3132138" cy="2857500"/>
          </a:xfrm>
          <a:solidFill>
            <a:schemeClr val="bg1"/>
          </a:solidFill>
        </p:grpSpPr>
        <p:sp>
          <p:nvSpPr>
            <p:cNvPr id="258" name="Freeform 7">
              <a:extLst>
                <a:ext uri="{FF2B5EF4-FFF2-40B4-BE49-F238E27FC236}">
                  <a16:creationId xmlns:a16="http://schemas.microsoft.com/office/drawing/2014/main" id="{7F525762-6709-49E5-9D16-FFFD3399A553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8237" y="573088"/>
              <a:ext cx="3132138" cy="2032000"/>
            </a:xfrm>
            <a:custGeom>
              <a:avLst/>
              <a:gdLst>
                <a:gd name="T0" fmla="*/ 739 w 835"/>
                <a:gd name="T1" fmla="*/ 175 h 542"/>
                <a:gd name="T2" fmla="*/ 679 w 835"/>
                <a:gd name="T3" fmla="*/ 250 h 542"/>
                <a:gd name="T4" fmla="*/ 136 w 835"/>
                <a:gd name="T5" fmla="*/ 535 h 542"/>
                <a:gd name="T6" fmla="*/ 16 w 835"/>
                <a:gd name="T7" fmla="*/ 523 h 542"/>
                <a:gd name="T8" fmla="*/ 16 w 835"/>
                <a:gd name="T9" fmla="*/ 463 h 542"/>
                <a:gd name="T10" fmla="*/ 109 w 835"/>
                <a:gd name="T11" fmla="*/ 448 h 542"/>
                <a:gd name="T12" fmla="*/ 661 w 835"/>
                <a:gd name="T13" fmla="*/ 124 h 542"/>
                <a:gd name="T14" fmla="*/ 589 w 835"/>
                <a:gd name="T15" fmla="*/ 73 h 542"/>
                <a:gd name="T16" fmla="*/ 742 w 835"/>
                <a:gd name="T17" fmla="*/ 16 h 542"/>
                <a:gd name="T18" fmla="*/ 823 w 835"/>
                <a:gd name="T19" fmla="*/ 154 h 542"/>
                <a:gd name="T20" fmla="*/ 787 w 835"/>
                <a:gd name="T21" fmla="*/ 229 h 542"/>
                <a:gd name="T22" fmla="*/ 739 w 835"/>
                <a:gd name="T23" fmla="*/ 175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5" h="542">
                  <a:moveTo>
                    <a:pt x="739" y="175"/>
                  </a:moveTo>
                  <a:cubicBezTo>
                    <a:pt x="714" y="194"/>
                    <a:pt x="701" y="226"/>
                    <a:pt x="679" y="250"/>
                  </a:cubicBezTo>
                  <a:cubicBezTo>
                    <a:pt x="556" y="390"/>
                    <a:pt x="380" y="510"/>
                    <a:pt x="136" y="535"/>
                  </a:cubicBezTo>
                  <a:cubicBezTo>
                    <a:pt x="92" y="540"/>
                    <a:pt x="32" y="542"/>
                    <a:pt x="16" y="523"/>
                  </a:cubicBezTo>
                  <a:cubicBezTo>
                    <a:pt x="0" y="504"/>
                    <a:pt x="5" y="476"/>
                    <a:pt x="16" y="463"/>
                  </a:cubicBezTo>
                  <a:cubicBezTo>
                    <a:pt x="30" y="446"/>
                    <a:pt x="72" y="450"/>
                    <a:pt x="109" y="448"/>
                  </a:cubicBezTo>
                  <a:cubicBezTo>
                    <a:pt x="360" y="434"/>
                    <a:pt x="551" y="288"/>
                    <a:pt x="661" y="124"/>
                  </a:cubicBezTo>
                  <a:cubicBezTo>
                    <a:pt x="604" y="139"/>
                    <a:pt x="581" y="107"/>
                    <a:pt x="589" y="73"/>
                  </a:cubicBezTo>
                  <a:cubicBezTo>
                    <a:pt x="599" y="31"/>
                    <a:pt x="689" y="28"/>
                    <a:pt x="742" y="16"/>
                  </a:cubicBezTo>
                  <a:cubicBezTo>
                    <a:pt x="813" y="0"/>
                    <a:pt x="813" y="98"/>
                    <a:pt x="823" y="154"/>
                  </a:cubicBezTo>
                  <a:cubicBezTo>
                    <a:pt x="829" y="186"/>
                    <a:pt x="835" y="229"/>
                    <a:pt x="787" y="229"/>
                  </a:cubicBezTo>
                  <a:cubicBezTo>
                    <a:pt x="757" y="229"/>
                    <a:pt x="744" y="206"/>
                    <a:pt x="739" y="1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59" name="Freeform 8">
              <a:extLst>
                <a:ext uri="{FF2B5EF4-FFF2-40B4-BE49-F238E27FC236}">
                  <a16:creationId xmlns:a16="http://schemas.microsoft.com/office/drawing/2014/main" id="{D49502BC-1B9C-4A69-A748-41D2E919B77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26313" y="1784350"/>
              <a:ext cx="574675" cy="1646238"/>
            </a:xfrm>
            <a:custGeom>
              <a:avLst/>
              <a:gdLst>
                <a:gd name="T0" fmla="*/ 132 w 153"/>
                <a:gd name="T1" fmla="*/ 431 h 439"/>
                <a:gd name="T2" fmla="*/ 15 w 153"/>
                <a:gd name="T3" fmla="*/ 428 h 439"/>
                <a:gd name="T4" fmla="*/ 6 w 153"/>
                <a:gd name="T5" fmla="*/ 332 h 439"/>
                <a:gd name="T6" fmla="*/ 6 w 153"/>
                <a:gd name="T7" fmla="*/ 227 h 439"/>
                <a:gd name="T8" fmla="*/ 12 w 153"/>
                <a:gd name="T9" fmla="*/ 26 h 439"/>
                <a:gd name="T10" fmla="*/ 138 w 153"/>
                <a:gd name="T11" fmla="*/ 23 h 439"/>
                <a:gd name="T12" fmla="*/ 147 w 153"/>
                <a:gd name="T13" fmla="*/ 122 h 439"/>
                <a:gd name="T14" fmla="*/ 147 w 153"/>
                <a:gd name="T15" fmla="*/ 338 h 439"/>
                <a:gd name="T16" fmla="*/ 132 w 153"/>
                <a:gd name="T17" fmla="*/ 431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3" h="439">
                  <a:moveTo>
                    <a:pt x="132" y="431"/>
                  </a:moveTo>
                  <a:cubicBezTo>
                    <a:pt x="100" y="435"/>
                    <a:pt x="42" y="439"/>
                    <a:pt x="15" y="428"/>
                  </a:cubicBezTo>
                  <a:cubicBezTo>
                    <a:pt x="0" y="401"/>
                    <a:pt x="6" y="366"/>
                    <a:pt x="6" y="332"/>
                  </a:cubicBezTo>
                  <a:cubicBezTo>
                    <a:pt x="6" y="298"/>
                    <a:pt x="6" y="262"/>
                    <a:pt x="6" y="227"/>
                  </a:cubicBezTo>
                  <a:cubicBezTo>
                    <a:pt x="6" y="157"/>
                    <a:pt x="1" y="85"/>
                    <a:pt x="12" y="26"/>
                  </a:cubicBezTo>
                  <a:cubicBezTo>
                    <a:pt x="40" y="14"/>
                    <a:pt x="115" y="0"/>
                    <a:pt x="138" y="23"/>
                  </a:cubicBezTo>
                  <a:cubicBezTo>
                    <a:pt x="153" y="38"/>
                    <a:pt x="147" y="88"/>
                    <a:pt x="147" y="122"/>
                  </a:cubicBezTo>
                  <a:cubicBezTo>
                    <a:pt x="147" y="197"/>
                    <a:pt x="147" y="266"/>
                    <a:pt x="147" y="338"/>
                  </a:cubicBezTo>
                  <a:cubicBezTo>
                    <a:pt x="147" y="376"/>
                    <a:pt x="153" y="413"/>
                    <a:pt x="132" y="4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60" name="Freeform 9">
              <a:extLst>
                <a:ext uri="{FF2B5EF4-FFF2-40B4-BE49-F238E27FC236}">
                  <a16:creationId xmlns:a16="http://schemas.microsoft.com/office/drawing/2014/main" id="{8792F76C-0887-4AA9-9F2C-F039624161B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1138" y="2368550"/>
              <a:ext cx="596900" cy="1057275"/>
            </a:xfrm>
            <a:custGeom>
              <a:avLst/>
              <a:gdLst>
                <a:gd name="T0" fmla="*/ 147 w 159"/>
                <a:gd name="T1" fmla="*/ 17 h 282"/>
                <a:gd name="T2" fmla="*/ 153 w 159"/>
                <a:gd name="T3" fmla="*/ 146 h 282"/>
                <a:gd name="T4" fmla="*/ 144 w 159"/>
                <a:gd name="T5" fmla="*/ 272 h 282"/>
                <a:gd name="T6" fmla="*/ 21 w 159"/>
                <a:gd name="T7" fmla="*/ 272 h 282"/>
                <a:gd name="T8" fmla="*/ 12 w 159"/>
                <a:gd name="T9" fmla="*/ 137 h 282"/>
                <a:gd name="T10" fmla="*/ 39 w 159"/>
                <a:gd name="T11" fmla="*/ 5 h 282"/>
                <a:gd name="T12" fmla="*/ 147 w 159"/>
                <a:gd name="T13" fmla="*/ 17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9" h="282">
                  <a:moveTo>
                    <a:pt x="147" y="17"/>
                  </a:moveTo>
                  <a:cubicBezTo>
                    <a:pt x="157" y="52"/>
                    <a:pt x="153" y="101"/>
                    <a:pt x="153" y="146"/>
                  </a:cubicBezTo>
                  <a:cubicBezTo>
                    <a:pt x="153" y="192"/>
                    <a:pt x="159" y="240"/>
                    <a:pt x="144" y="272"/>
                  </a:cubicBezTo>
                  <a:cubicBezTo>
                    <a:pt x="115" y="282"/>
                    <a:pt x="50" y="282"/>
                    <a:pt x="21" y="272"/>
                  </a:cubicBezTo>
                  <a:cubicBezTo>
                    <a:pt x="7" y="243"/>
                    <a:pt x="12" y="192"/>
                    <a:pt x="12" y="137"/>
                  </a:cubicBezTo>
                  <a:cubicBezTo>
                    <a:pt x="12" y="92"/>
                    <a:pt x="0" y="12"/>
                    <a:pt x="39" y="5"/>
                  </a:cubicBezTo>
                  <a:cubicBezTo>
                    <a:pt x="67" y="0"/>
                    <a:pt x="127" y="2"/>
                    <a:pt x="147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61" name="Freeform 10">
              <a:extLst>
                <a:ext uri="{FF2B5EF4-FFF2-40B4-BE49-F238E27FC236}">
                  <a16:creationId xmlns:a16="http://schemas.microsoft.com/office/drawing/2014/main" id="{C8316912-7209-4AEB-93E6-1D95BA4021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3113" y="2668588"/>
              <a:ext cx="561975" cy="757238"/>
            </a:xfrm>
            <a:custGeom>
              <a:avLst/>
              <a:gdLst>
                <a:gd name="T0" fmla="*/ 135 w 150"/>
                <a:gd name="T1" fmla="*/ 9 h 202"/>
                <a:gd name="T2" fmla="*/ 144 w 150"/>
                <a:gd name="T3" fmla="*/ 102 h 202"/>
                <a:gd name="T4" fmla="*/ 135 w 150"/>
                <a:gd name="T5" fmla="*/ 192 h 202"/>
                <a:gd name="T6" fmla="*/ 15 w 150"/>
                <a:gd name="T7" fmla="*/ 192 h 202"/>
                <a:gd name="T8" fmla="*/ 6 w 150"/>
                <a:gd name="T9" fmla="*/ 99 h 202"/>
                <a:gd name="T10" fmla="*/ 15 w 150"/>
                <a:gd name="T11" fmla="*/ 9 h 202"/>
                <a:gd name="T12" fmla="*/ 135 w 150"/>
                <a:gd name="T13" fmla="*/ 9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202">
                  <a:moveTo>
                    <a:pt x="135" y="9"/>
                  </a:moveTo>
                  <a:cubicBezTo>
                    <a:pt x="149" y="29"/>
                    <a:pt x="144" y="68"/>
                    <a:pt x="144" y="102"/>
                  </a:cubicBezTo>
                  <a:cubicBezTo>
                    <a:pt x="144" y="135"/>
                    <a:pt x="150" y="173"/>
                    <a:pt x="135" y="192"/>
                  </a:cubicBezTo>
                  <a:cubicBezTo>
                    <a:pt x="107" y="202"/>
                    <a:pt x="43" y="202"/>
                    <a:pt x="15" y="192"/>
                  </a:cubicBezTo>
                  <a:cubicBezTo>
                    <a:pt x="0" y="173"/>
                    <a:pt x="6" y="133"/>
                    <a:pt x="6" y="99"/>
                  </a:cubicBezTo>
                  <a:cubicBezTo>
                    <a:pt x="6" y="66"/>
                    <a:pt x="1" y="28"/>
                    <a:pt x="15" y="9"/>
                  </a:cubicBezTo>
                  <a:cubicBezTo>
                    <a:pt x="44" y="0"/>
                    <a:pt x="106" y="0"/>
                    <a:pt x="135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62" name="Freeform 11">
              <a:extLst>
                <a:ext uri="{FF2B5EF4-FFF2-40B4-BE49-F238E27FC236}">
                  <a16:creationId xmlns:a16="http://schemas.microsoft.com/office/drawing/2014/main" id="{3D9A6B0B-6347-47F3-B2BB-B78056B56A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2225" y="2800350"/>
              <a:ext cx="577850" cy="630238"/>
            </a:xfrm>
            <a:custGeom>
              <a:avLst/>
              <a:gdLst>
                <a:gd name="T0" fmla="*/ 140 w 154"/>
                <a:gd name="T1" fmla="*/ 10 h 168"/>
                <a:gd name="T2" fmla="*/ 140 w 154"/>
                <a:gd name="T3" fmla="*/ 157 h 168"/>
                <a:gd name="T4" fmla="*/ 20 w 154"/>
                <a:gd name="T5" fmla="*/ 160 h 168"/>
                <a:gd name="T6" fmla="*/ 17 w 154"/>
                <a:gd name="T7" fmla="*/ 10 h 168"/>
                <a:gd name="T8" fmla="*/ 140 w 154"/>
                <a:gd name="T9" fmla="*/ 1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4" h="168">
                  <a:moveTo>
                    <a:pt x="140" y="10"/>
                  </a:moveTo>
                  <a:cubicBezTo>
                    <a:pt x="154" y="44"/>
                    <a:pt x="154" y="123"/>
                    <a:pt x="140" y="157"/>
                  </a:cubicBezTo>
                  <a:cubicBezTo>
                    <a:pt x="111" y="168"/>
                    <a:pt x="53" y="164"/>
                    <a:pt x="20" y="160"/>
                  </a:cubicBezTo>
                  <a:cubicBezTo>
                    <a:pt x="0" y="131"/>
                    <a:pt x="3" y="43"/>
                    <a:pt x="17" y="10"/>
                  </a:cubicBezTo>
                  <a:cubicBezTo>
                    <a:pt x="46" y="0"/>
                    <a:pt x="111" y="1"/>
                    <a:pt x="14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264" name="Textfeld 263">
            <a:extLst>
              <a:ext uri="{FF2B5EF4-FFF2-40B4-BE49-F238E27FC236}">
                <a16:creationId xmlns:a16="http://schemas.microsoft.com/office/drawing/2014/main" id="{3D4BFE41-FB44-47DA-A0FC-68E70596E930}"/>
              </a:ext>
            </a:extLst>
          </p:cNvPr>
          <p:cNvSpPr txBox="1"/>
          <p:nvPr/>
        </p:nvSpPr>
        <p:spPr>
          <a:xfrm>
            <a:off x="371472" y="6309320"/>
            <a:ext cx="1123933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ource: GfK Switzerland, </a:t>
            </a:r>
            <a:r>
              <a:rPr lang="en-GB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DigiMig</a:t>
            </a:r>
            <a:r>
              <a:rPr lang="en-GB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survey, n(2015/2)=2’453, n(2016/1)=2’526, n(2016/2)=2’531, n(2017/1)=2’504, n(2017/2)=2’519, n(2018/1)=2’673, n(2018/2)=2’761, n(2019/1)=2’740, n(2019/2)=2’800 , n(2020/1)=2’625, n(2020/2)=2’671, </a:t>
            </a:r>
            <a:r>
              <a:rPr lang="en-GB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(2021/1): 2’670, </a:t>
            </a:r>
            <a:r>
              <a:rPr lang="en-GB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n(2021/2)=2’801, n(2022/1)=2’789, n(2022/2)=2’841, n(2023/1)=2’756), n(2023/2)=2’725</a:t>
            </a:r>
            <a:endParaRPr lang="en-GB" sz="9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E0A344A0-71CE-4772-8E0D-4785B5D7379B}"/>
              </a:ext>
            </a:extLst>
          </p:cNvPr>
          <p:cNvGrpSpPr/>
          <p:nvPr/>
        </p:nvGrpSpPr>
        <p:grpSpPr>
          <a:xfrm>
            <a:off x="371475" y="1660997"/>
            <a:ext cx="11327356" cy="4272403"/>
            <a:chOff x="371475" y="1486552"/>
            <a:chExt cx="11327356" cy="4272403"/>
          </a:xfrm>
        </p:grpSpPr>
        <p:graphicFrame>
          <p:nvGraphicFramePr>
            <p:cNvPr id="6" name="Diagramm 5"/>
            <p:cNvGraphicFramePr/>
            <p:nvPr>
              <p:extLst>
                <p:ext uri="{D42A27DB-BD31-4B8C-83A1-F6EECF244321}">
                  <p14:modId xmlns:p14="http://schemas.microsoft.com/office/powerpoint/2010/main" val="1635924401"/>
                </p:ext>
              </p:extLst>
            </p:nvPr>
          </p:nvGraphicFramePr>
          <p:xfrm>
            <a:off x="371475" y="1628705"/>
            <a:ext cx="11327356" cy="407858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  <p:sp>
          <p:nvSpPr>
            <p:cNvPr id="68" name="Rechteck 67"/>
            <p:cNvSpPr>
              <a:spLocks/>
            </p:cNvSpPr>
            <p:nvPr/>
          </p:nvSpPr>
          <p:spPr>
            <a:xfrm>
              <a:off x="10929335" y="1486552"/>
              <a:ext cx="632188" cy="4272403"/>
            </a:xfrm>
            <a:prstGeom prst="rect">
              <a:avLst/>
            </a:prstGeom>
            <a:noFill/>
            <a:ln w="19050">
              <a:solidFill>
                <a:srgbClr val="DA183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grpSp>
          <p:nvGrpSpPr>
            <p:cNvPr id="202" name="Gruppieren 201">
              <a:extLst>
                <a:ext uri="{FF2B5EF4-FFF2-40B4-BE49-F238E27FC236}">
                  <a16:creationId xmlns:a16="http://schemas.microsoft.com/office/drawing/2014/main" id="{334F3E27-1FF3-47FF-B213-7DD460A7FCBD}"/>
                </a:ext>
              </a:extLst>
            </p:cNvPr>
            <p:cNvGrpSpPr/>
            <p:nvPr/>
          </p:nvGrpSpPr>
          <p:grpSpPr>
            <a:xfrm>
              <a:off x="654121" y="1814183"/>
              <a:ext cx="401319" cy="3150417"/>
              <a:chOff x="651835" y="1541047"/>
              <a:chExt cx="456831" cy="3586188"/>
            </a:xfrm>
          </p:grpSpPr>
          <p:pic>
            <p:nvPicPr>
              <p:cNvPr id="232" name="Grafik 231">
                <a:extLst>
                  <a:ext uri="{FF2B5EF4-FFF2-40B4-BE49-F238E27FC236}">
                    <a16:creationId xmlns:a16="http://schemas.microsoft.com/office/drawing/2014/main" id="{13CCE4FD-1E9D-447B-9715-AE9D806F850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biLevel thresh="2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1835" y="4681218"/>
                <a:ext cx="456831" cy="446017"/>
              </a:xfrm>
              <a:prstGeom prst="rect">
                <a:avLst/>
              </a:prstGeom>
            </p:spPr>
          </p:pic>
          <p:pic>
            <p:nvPicPr>
              <p:cNvPr id="239" name="Grafik 238">
                <a:extLst>
                  <a:ext uri="{FF2B5EF4-FFF2-40B4-BE49-F238E27FC236}">
                    <a16:creationId xmlns:a16="http://schemas.microsoft.com/office/drawing/2014/main" id="{4EC0E19C-5615-434C-8291-8CF98B825F9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 cstate="print">
                <a:extLst>
                  <a:ext uri="{BEBA8EAE-BF5A-486C-A8C5-ECC9F3942E4B}">
                    <a14:imgProps xmlns:a14="http://schemas.microsoft.com/office/drawing/2010/main">
                      <a14:imgLayer r:embed="rId11">
                        <a14:imgEffect>
                          <a14:brightnessContrast bright="100000" contras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31267"/>
              <a:stretch/>
            </p:blipFill>
            <p:spPr>
              <a:xfrm>
                <a:off x="698811" y="1541047"/>
                <a:ext cx="388844" cy="330785"/>
              </a:xfrm>
              <a:prstGeom prst="rect">
                <a:avLst/>
              </a:prstGeom>
            </p:spPr>
          </p:pic>
          <p:pic>
            <p:nvPicPr>
              <p:cNvPr id="246" name="Grafik 245">
                <a:extLst>
                  <a:ext uri="{FF2B5EF4-FFF2-40B4-BE49-F238E27FC236}">
                    <a16:creationId xmlns:a16="http://schemas.microsoft.com/office/drawing/2014/main" id="{E0B5B4B4-541A-48AE-88B0-A7427457FB6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725074" y="3038186"/>
                <a:ext cx="351612" cy="206160"/>
              </a:xfrm>
              <a:prstGeom prst="rect">
                <a:avLst/>
              </a:prstGeom>
            </p:spPr>
          </p:pic>
        </p:grpSp>
      </p:grpSp>
      <p:grpSp>
        <p:nvGrpSpPr>
          <p:cNvPr id="253" name="Gruppieren 252">
            <a:extLst>
              <a:ext uri="{FF2B5EF4-FFF2-40B4-BE49-F238E27FC236}">
                <a16:creationId xmlns:a16="http://schemas.microsoft.com/office/drawing/2014/main" id="{ECD14A64-4E9D-4DB3-8C16-0A9C032CD7DF}"/>
              </a:ext>
            </a:extLst>
          </p:cNvPr>
          <p:cNvGrpSpPr/>
          <p:nvPr/>
        </p:nvGrpSpPr>
        <p:grpSpPr>
          <a:xfrm>
            <a:off x="175813" y="1932457"/>
            <a:ext cx="381634" cy="4000943"/>
            <a:chOff x="258932" y="2023542"/>
            <a:chExt cx="381634" cy="4000943"/>
          </a:xfrm>
        </p:grpSpPr>
        <p:sp>
          <p:nvSpPr>
            <p:cNvPr id="255" name="Textfeld 254">
              <a:extLst>
                <a:ext uri="{FF2B5EF4-FFF2-40B4-BE49-F238E27FC236}">
                  <a16:creationId xmlns:a16="http://schemas.microsoft.com/office/drawing/2014/main" id="{6E13073B-6F83-4487-8970-DA35AD66F581}"/>
                </a:ext>
              </a:extLst>
            </p:cNvPr>
            <p:cNvSpPr txBox="1"/>
            <p:nvPr/>
          </p:nvSpPr>
          <p:spPr>
            <a:xfrm rot="16200000">
              <a:off x="-1351171" y="4065238"/>
              <a:ext cx="3619310" cy="299184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80000"/>
                </a:lnSpc>
              </a:pPr>
              <a:r>
                <a:rPr lang="en-GB" sz="12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Radio use via TV </a:t>
              </a:r>
              <a:r>
                <a:rPr lang="en-GB" sz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(6% of total use) </a:t>
              </a:r>
              <a:br>
                <a:rPr lang="en-GB" sz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</a:br>
              <a:r>
                <a:rPr lang="en-GB" sz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</a:rPr>
                <a:t>is assigned to the internet / Digital category.</a:t>
              </a:r>
            </a:p>
          </p:txBody>
        </p:sp>
        <p:pic>
          <p:nvPicPr>
            <p:cNvPr id="263" name="Grafik 262" descr="Fernseher">
              <a:extLst>
                <a:ext uri="{FF2B5EF4-FFF2-40B4-BE49-F238E27FC236}">
                  <a16:creationId xmlns:a16="http://schemas.microsoft.com/office/drawing/2014/main" id="{6AA832BE-7222-4EF7-B80B-90E5ECCEB8B1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258932" y="2023542"/>
              <a:ext cx="381634" cy="381634"/>
            </a:xfrm>
            <a:prstGeom prst="rect">
              <a:avLst/>
            </a:prstGeom>
          </p:spPr>
        </p:pic>
      </p:grpSp>
      <p:sp>
        <p:nvSpPr>
          <p:cNvPr id="265" name="Titel 8">
            <a:extLst>
              <a:ext uri="{FF2B5EF4-FFF2-40B4-BE49-F238E27FC236}">
                <a16:creationId xmlns:a16="http://schemas.microsoft.com/office/drawing/2014/main" id="{26DFA856-91DE-42B4-B48B-3E8FBA8241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267" y="399357"/>
            <a:ext cx="10515600" cy="387798"/>
          </a:xfrm>
        </p:spPr>
        <p:txBody>
          <a:bodyPr/>
          <a:lstStyle/>
          <a:p>
            <a:r>
              <a:rPr lang="en-GB" dirty="0">
                <a:latin typeface="Cambria" panose="02040503050406030204" pitchFamily="18" charset="0"/>
                <a:ea typeface="Cambria" panose="02040503050406030204" pitchFamily="18" charset="0"/>
              </a:rPr>
              <a:t>Stabilisation of usage share by mode of reception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DD2892B3-26BE-47FD-BBD8-C86DD3086D0E}"/>
              </a:ext>
            </a:extLst>
          </p:cNvPr>
          <p:cNvSpPr txBox="1"/>
          <p:nvPr/>
        </p:nvSpPr>
        <p:spPr>
          <a:xfrm>
            <a:off x="11496600" y="4746680"/>
            <a:ext cx="576000" cy="226591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 anchor="ctr" anchorCtr="0">
            <a:spAutoFit/>
          </a:bodyPr>
          <a:lstStyle>
            <a:defPPr>
              <a:defRPr lang="de-DE"/>
            </a:defPPr>
            <a:lvl1pPr algn="ctr">
              <a:defRPr sz="800" b="1">
                <a:solidFill>
                  <a:srgbClr val="F2B800"/>
                </a:solidFill>
                <a:latin typeface="+mj-lt"/>
              </a:defRPr>
            </a:lvl1pPr>
          </a:lstStyle>
          <a:p>
            <a:r>
              <a:rPr lang="en-GB" sz="1000" b="0" dirty="0">
                <a:latin typeface="+mn-lt"/>
              </a:rPr>
              <a:t>±  1.5 Pp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912C9F19-E129-4725-B954-31B149DB0E8A}"/>
              </a:ext>
            </a:extLst>
          </p:cNvPr>
          <p:cNvSpPr txBox="1"/>
          <p:nvPr/>
        </p:nvSpPr>
        <p:spPr>
          <a:xfrm>
            <a:off x="11497378" y="3696178"/>
            <a:ext cx="576000" cy="226591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 anchor="ctr" anchorCtr="0">
            <a:spAutoFit/>
          </a:bodyPr>
          <a:lstStyle>
            <a:defPPr>
              <a:defRPr lang="de-DE"/>
            </a:defPPr>
            <a:lvl1pPr algn="ctr">
              <a:defRPr sz="800" b="1">
                <a:solidFill>
                  <a:srgbClr val="F2B800"/>
                </a:solidFill>
                <a:latin typeface="+mj-lt"/>
              </a:defRPr>
            </a:lvl1pPr>
          </a:lstStyle>
          <a:p>
            <a:r>
              <a:rPr lang="en-GB" sz="1000" b="0" dirty="0"/>
              <a:t>± 1.8</a:t>
            </a:r>
            <a:r>
              <a:rPr lang="en-GB" sz="1000" b="0" dirty="0">
                <a:latin typeface="+mn-lt"/>
              </a:rPr>
              <a:t> Pp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AD4DC6C7-4886-4373-914F-5672D5DAC368}"/>
              </a:ext>
            </a:extLst>
          </p:cNvPr>
          <p:cNvSpPr txBox="1"/>
          <p:nvPr/>
        </p:nvSpPr>
        <p:spPr>
          <a:xfrm>
            <a:off x="11497378" y="2448409"/>
            <a:ext cx="576000" cy="226591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 anchor="ctr" anchorCtr="0">
            <a:spAutoFit/>
          </a:bodyPr>
          <a:lstStyle>
            <a:defPPr>
              <a:defRPr lang="de-DE"/>
            </a:defPPr>
            <a:lvl1pPr algn="ctr">
              <a:defRPr sz="800" b="1">
                <a:solidFill>
                  <a:srgbClr val="F2B800"/>
                </a:solidFill>
                <a:latin typeface="+mj-lt"/>
              </a:defRPr>
            </a:lvl1pPr>
          </a:lstStyle>
          <a:p>
            <a:r>
              <a:rPr lang="en-GB" b="0" dirty="0"/>
              <a:t>± </a:t>
            </a:r>
            <a:r>
              <a:rPr lang="en-GB" sz="1000" b="0" dirty="0">
                <a:latin typeface="+mn-lt"/>
              </a:rPr>
              <a:t>1.8 Pp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B608BA5F-07D5-7BB1-6C38-670935CBC034}"/>
              </a:ext>
            </a:extLst>
          </p:cNvPr>
          <p:cNvSpPr/>
          <p:nvPr/>
        </p:nvSpPr>
        <p:spPr>
          <a:xfrm>
            <a:off x="366630" y="6062567"/>
            <a:ext cx="5609214" cy="211203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GB" sz="900" dirty="0">
                <a:solidFill>
                  <a:srgbClr val="F2B800"/>
                </a:solidFill>
                <a:latin typeface="+mj-lt"/>
              </a:rPr>
              <a:t>Sampling error (confidence level = 95%) in percentage points</a:t>
            </a:r>
            <a:endParaRPr lang="en-GB" sz="900" u="sng" dirty="0">
              <a:solidFill>
                <a:srgbClr val="F2B8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216580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Diagramm 2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03402633"/>
              </p:ext>
            </p:extLst>
          </p:nvPr>
        </p:nvGraphicFramePr>
        <p:xfrm>
          <a:off x="3894170" y="2558780"/>
          <a:ext cx="3888432" cy="36438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4" name="Diagramm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49022345"/>
              </p:ext>
            </p:extLst>
          </p:nvPr>
        </p:nvGraphicFramePr>
        <p:xfrm>
          <a:off x="7733393" y="2567311"/>
          <a:ext cx="3888432" cy="36438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53" name="Diagramm 5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00851410"/>
              </p:ext>
            </p:extLst>
          </p:nvPr>
        </p:nvGraphicFramePr>
        <p:xfrm>
          <a:off x="54948" y="2552628"/>
          <a:ext cx="3888432" cy="36561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76773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9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>
            <a:extLst>
              <a:ext uri="{FF2B5EF4-FFF2-40B4-BE49-F238E27FC236}">
                <a16:creationId xmlns:a16="http://schemas.microsoft.com/office/drawing/2014/main" id="{B893BB1E-02A3-421B-BE44-3388CE7B230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CH" sz="28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05" name="Ellipse 404">
            <a:extLst>
              <a:ext uri="{FF2B5EF4-FFF2-40B4-BE49-F238E27FC236}">
                <a16:creationId xmlns:a16="http://schemas.microsoft.com/office/drawing/2014/main" id="{452A372E-8478-4A4A-8477-25294D154453}"/>
              </a:ext>
            </a:extLst>
          </p:cNvPr>
          <p:cNvSpPr/>
          <p:nvPr/>
        </p:nvSpPr>
        <p:spPr>
          <a:xfrm>
            <a:off x="10890812" y="282575"/>
            <a:ext cx="720000" cy="720000"/>
          </a:xfrm>
          <a:prstGeom prst="ellipse">
            <a:avLst/>
          </a:prstGeom>
          <a:gradFill>
            <a:gsLst>
              <a:gs pos="100000">
                <a:srgbClr val="F5A1AF"/>
              </a:gs>
              <a:gs pos="35000">
                <a:srgbClr val="DA1838"/>
              </a:gs>
              <a:gs pos="1000">
                <a:srgbClr val="A2122A"/>
              </a:gs>
              <a:gs pos="65000">
                <a:srgbClr val="EC526C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>
          <a:xfrm>
            <a:off x="425500" y="1014614"/>
            <a:ext cx="10435133" cy="235449"/>
          </a:xfrm>
        </p:spPr>
        <p:txBody>
          <a:bodyPr/>
          <a:lstStyle/>
          <a:p>
            <a:r>
              <a:rPr lang="en-GB" sz="1700" b="0" dirty="0"/>
              <a:t>DAB+ usage is highest in German-speaking Switzerland while in French-speaking Switzerland it is internet radio.</a:t>
            </a:r>
          </a:p>
        </p:txBody>
      </p:sp>
      <p:sp>
        <p:nvSpPr>
          <p:cNvPr id="49" name="Textfeld 48"/>
          <p:cNvSpPr txBox="1"/>
          <p:nvPr/>
        </p:nvSpPr>
        <p:spPr>
          <a:xfrm>
            <a:off x="5528942" y="2319481"/>
            <a:ext cx="948968" cy="338554"/>
          </a:xfrm>
          <a:prstGeom prst="rect">
            <a:avLst/>
          </a:prstGeom>
          <a:noFill/>
        </p:spPr>
        <p:txBody>
          <a:bodyPr spcFirstLastPara="1" wrap="none" numCol="1" rtlCol="0">
            <a:prstTxWarp prst="textArchDown">
              <a:avLst/>
            </a:prstTxWarp>
            <a:spAutoFit/>
          </a:bodyPr>
          <a:lstStyle>
            <a:defPPr>
              <a:defRPr lang="de-DE"/>
            </a:defPPr>
            <a:lvl1pPr algn="ctr">
              <a:defRPr sz="1600" b="1">
                <a:solidFill>
                  <a:srgbClr val="DA1838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GB" dirty="0"/>
              <a:t>French-speaking</a:t>
            </a:r>
          </a:p>
        </p:txBody>
      </p:sp>
      <p:sp>
        <p:nvSpPr>
          <p:cNvPr id="45" name="Inhaltsplatzhalter 5"/>
          <p:cNvSpPr txBox="1">
            <a:spLocks/>
          </p:cNvSpPr>
          <p:nvPr/>
        </p:nvSpPr>
        <p:spPr>
          <a:xfrm>
            <a:off x="371475" y="1364643"/>
            <a:ext cx="11327356" cy="1938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adio usage (in per cent) by mode of reception and language region</a:t>
            </a:r>
          </a:p>
        </p:txBody>
      </p:sp>
      <p:grpSp>
        <p:nvGrpSpPr>
          <p:cNvPr id="7" name="Gruppieren 6"/>
          <p:cNvGrpSpPr/>
          <p:nvPr/>
        </p:nvGrpSpPr>
        <p:grpSpPr>
          <a:xfrm>
            <a:off x="10973890" y="426792"/>
            <a:ext cx="549754" cy="437913"/>
            <a:chOff x="10281207" y="114334"/>
            <a:chExt cx="1758258" cy="1400559"/>
          </a:xfrm>
        </p:grpSpPr>
        <p:sp>
          <p:nvSpPr>
            <p:cNvPr id="74" name="Forme libre 6"/>
            <p:cNvSpPr/>
            <p:nvPr/>
          </p:nvSpPr>
          <p:spPr>
            <a:xfrm>
              <a:off x="10848528" y="114334"/>
              <a:ext cx="1190937" cy="839316"/>
            </a:xfrm>
            <a:custGeom>
              <a:avLst/>
              <a:gdLst>
                <a:gd name="connsiteX0" fmla="*/ 1071562 w 2581275"/>
                <a:gd name="connsiteY0" fmla="*/ 1371600 h 1690688"/>
                <a:gd name="connsiteX1" fmla="*/ 1143000 w 2581275"/>
                <a:gd name="connsiteY1" fmla="*/ 1328738 h 1690688"/>
                <a:gd name="connsiteX2" fmla="*/ 1209675 w 2581275"/>
                <a:gd name="connsiteY2" fmla="*/ 1352550 h 1690688"/>
                <a:gd name="connsiteX3" fmla="*/ 1271587 w 2581275"/>
                <a:gd name="connsiteY3" fmla="*/ 1319213 h 1690688"/>
                <a:gd name="connsiteX4" fmla="*/ 1371600 w 2581275"/>
                <a:gd name="connsiteY4" fmla="*/ 1357313 h 1690688"/>
                <a:gd name="connsiteX5" fmla="*/ 1481137 w 2581275"/>
                <a:gd name="connsiteY5" fmla="*/ 1295400 h 1690688"/>
                <a:gd name="connsiteX6" fmla="*/ 1533525 w 2581275"/>
                <a:gd name="connsiteY6" fmla="*/ 1419225 h 1690688"/>
                <a:gd name="connsiteX7" fmla="*/ 1690687 w 2581275"/>
                <a:gd name="connsiteY7" fmla="*/ 1376363 h 1690688"/>
                <a:gd name="connsiteX8" fmla="*/ 1714500 w 2581275"/>
                <a:gd name="connsiteY8" fmla="*/ 1423988 h 1690688"/>
                <a:gd name="connsiteX9" fmla="*/ 1828800 w 2581275"/>
                <a:gd name="connsiteY9" fmla="*/ 1395413 h 1690688"/>
                <a:gd name="connsiteX10" fmla="*/ 1890712 w 2581275"/>
                <a:gd name="connsiteY10" fmla="*/ 1614488 h 1690688"/>
                <a:gd name="connsiteX11" fmla="*/ 2028825 w 2581275"/>
                <a:gd name="connsiteY11" fmla="*/ 1614488 h 1690688"/>
                <a:gd name="connsiteX12" fmla="*/ 2147887 w 2581275"/>
                <a:gd name="connsiteY12" fmla="*/ 1528763 h 1690688"/>
                <a:gd name="connsiteX13" fmla="*/ 2290762 w 2581275"/>
                <a:gd name="connsiteY13" fmla="*/ 1690688 h 1690688"/>
                <a:gd name="connsiteX14" fmla="*/ 2357437 w 2581275"/>
                <a:gd name="connsiteY14" fmla="*/ 1671638 h 1690688"/>
                <a:gd name="connsiteX15" fmla="*/ 2300287 w 2581275"/>
                <a:gd name="connsiteY15" fmla="*/ 1562100 h 1690688"/>
                <a:gd name="connsiteX16" fmla="*/ 2319337 w 2581275"/>
                <a:gd name="connsiteY16" fmla="*/ 1509713 h 1690688"/>
                <a:gd name="connsiteX17" fmla="*/ 2314575 w 2581275"/>
                <a:gd name="connsiteY17" fmla="*/ 1462088 h 1690688"/>
                <a:gd name="connsiteX18" fmla="*/ 2257425 w 2581275"/>
                <a:gd name="connsiteY18" fmla="*/ 1447800 h 1690688"/>
                <a:gd name="connsiteX19" fmla="*/ 2276475 w 2581275"/>
                <a:gd name="connsiteY19" fmla="*/ 1281113 h 1690688"/>
                <a:gd name="connsiteX20" fmla="*/ 2405062 w 2581275"/>
                <a:gd name="connsiteY20" fmla="*/ 1209675 h 1690688"/>
                <a:gd name="connsiteX21" fmla="*/ 2466975 w 2581275"/>
                <a:gd name="connsiteY21" fmla="*/ 1343025 h 1690688"/>
                <a:gd name="connsiteX22" fmla="*/ 2547937 w 2581275"/>
                <a:gd name="connsiteY22" fmla="*/ 1338263 h 1690688"/>
                <a:gd name="connsiteX23" fmla="*/ 2581275 w 2581275"/>
                <a:gd name="connsiteY23" fmla="*/ 1252538 h 1690688"/>
                <a:gd name="connsiteX24" fmla="*/ 2524125 w 2581275"/>
                <a:gd name="connsiteY24" fmla="*/ 1247775 h 1690688"/>
                <a:gd name="connsiteX25" fmla="*/ 2490787 w 2581275"/>
                <a:gd name="connsiteY25" fmla="*/ 1181100 h 1690688"/>
                <a:gd name="connsiteX26" fmla="*/ 2557462 w 2581275"/>
                <a:gd name="connsiteY26" fmla="*/ 904875 h 1690688"/>
                <a:gd name="connsiteX27" fmla="*/ 2495550 w 2581275"/>
                <a:gd name="connsiteY27" fmla="*/ 823913 h 1690688"/>
                <a:gd name="connsiteX28" fmla="*/ 2343150 w 2581275"/>
                <a:gd name="connsiteY28" fmla="*/ 990600 h 1690688"/>
                <a:gd name="connsiteX29" fmla="*/ 2114550 w 2581275"/>
                <a:gd name="connsiteY29" fmla="*/ 923925 h 1690688"/>
                <a:gd name="connsiteX30" fmla="*/ 2114550 w 2581275"/>
                <a:gd name="connsiteY30" fmla="*/ 862013 h 1690688"/>
                <a:gd name="connsiteX31" fmla="*/ 1928812 w 2581275"/>
                <a:gd name="connsiteY31" fmla="*/ 781050 h 1690688"/>
                <a:gd name="connsiteX32" fmla="*/ 1814512 w 2581275"/>
                <a:gd name="connsiteY32" fmla="*/ 781050 h 1690688"/>
                <a:gd name="connsiteX33" fmla="*/ 1819275 w 2581275"/>
                <a:gd name="connsiteY33" fmla="*/ 747713 h 1690688"/>
                <a:gd name="connsiteX34" fmla="*/ 1857375 w 2581275"/>
                <a:gd name="connsiteY34" fmla="*/ 738188 h 1690688"/>
                <a:gd name="connsiteX35" fmla="*/ 1819275 w 2581275"/>
                <a:gd name="connsiteY35" fmla="*/ 623888 h 1690688"/>
                <a:gd name="connsiteX36" fmla="*/ 1919287 w 2581275"/>
                <a:gd name="connsiteY36" fmla="*/ 423863 h 1690688"/>
                <a:gd name="connsiteX37" fmla="*/ 1919287 w 2581275"/>
                <a:gd name="connsiteY37" fmla="*/ 333375 h 1690688"/>
                <a:gd name="connsiteX38" fmla="*/ 1866900 w 2581275"/>
                <a:gd name="connsiteY38" fmla="*/ 300038 h 1690688"/>
                <a:gd name="connsiteX39" fmla="*/ 1838325 w 2581275"/>
                <a:gd name="connsiteY39" fmla="*/ 323850 h 1690688"/>
                <a:gd name="connsiteX40" fmla="*/ 1719262 w 2581275"/>
                <a:gd name="connsiteY40" fmla="*/ 228600 h 1690688"/>
                <a:gd name="connsiteX41" fmla="*/ 1728787 w 2581275"/>
                <a:gd name="connsiteY41" fmla="*/ 209550 h 1690688"/>
                <a:gd name="connsiteX42" fmla="*/ 1652587 w 2581275"/>
                <a:gd name="connsiteY42" fmla="*/ 180975 h 1690688"/>
                <a:gd name="connsiteX43" fmla="*/ 1624012 w 2581275"/>
                <a:gd name="connsiteY43" fmla="*/ 157163 h 1690688"/>
                <a:gd name="connsiteX44" fmla="*/ 1419225 w 2581275"/>
                <a:gd name="connsiteY44" fmla="*/ 119063 h 1690688"/>
                <a:gd name="connsiteX45" fmla="*/ 1381125 w 2581275"/>
                <a:gd name="connsiteY45" fmla="*/ 142875 h 1690688"/>
                <a:gd name="connsiteX46" fmla="*/ 1333500 w 2581275"/>
                <a:gd name="connsiteY46" fmla="*/ 47625 h 1690688"/>
                <a:gd name="connsiteX47" fmla="*/ 1304925 w 2581275"/>
                <a:gd name="connsiteY47" fmla="*/ 42863 h 1690688"/>
                <a:gd name="connsiteX48" fmla="*/ 1300162 w 2581275"/>
                <a:gd name="connsiteY48" fmla="*/ 109538 h 1690688"/>
                <a:gd name="connsiteX49" fmla="*/ 1243012 w 2581275"/>
                <a:gd name="connsiteY49" fmla="*/ 100013 h 1690688"/>
                <a:gd name="connsiteX50" fmla="*/ 1176337 w 2581275"/>
                <a:gd name="connsiteY50" fmla="*/ 0 h 1690688"/>
                <a:gd name="connsiteX51" fmla="*/ 1062037 w 2581275"/>
                <a:gd name="connsiteY51" fmla="*/ 19050 h 1690688"/>
                <a:gd name="connsiteX52" fmla="*/ 1023937 w 2581275"/>
                <a:gd name="connsiteY52" fmla="*/ 90488 h 1690688"/>
                <a:gd name="connsiteX53" fmla="*/ 1076325 w 2581275"/>
                <a:gd name="connsiteY53" fmla="*/ 128588 h 1690688"/>
                <a:gd name="connsiteX54" fmla="*/ 1176337 w 2581275"/>
                <a:gd name="connsiteY54" fmla="*/ 104775 h 1690688"/>
                <a:gd name="connsiteX55" fmla="*/ 1200150 w 2581275"/>
                <a:gd name="connsiteY55" fmla="*/ 152400 h 1690688"/>
                <a:gd name="connsiteX56" fmla="*/ 1062037 w 2581275"/>
                <a:gd name="connsiteY56" fmla="*/ 223838 h 1690688"/>
                <a:gd name="connsiteX57" fmla="*/ 942975 w 2581275"/>
                <a:gd name="connsiteY57" fmla="*/ 233363 h 1690688"/>
                <a:gd name="connsiteX58" fmla="*/ 933450 w 2581275"/>
                <a:gd name="connsiteY58" fmla="*/ 185738 h 1690688"/>
                <a:gd name="connsiteX59" fmla="*/ 666750 w 2581275"/>
                <a:gd name="connsiteY59" fmla="*/ 266700 h 1690688"/>
                <a:gd name="connsiteX60" fmla="*/ 633412 w 2581275"/>
                <a:gd name="connsiteY60" fmla="*/ 228600 h 1690688"/>
                <a:gd name="connsiteX61" fmla="*/ 490537 w 2581275"/>
                <a:gd name="connsiteY61" fmla="*/ 276225 h 1690688"/>
                <a:gd name="connsiteX62" fmla="*/ 433387 w 2581275"/>
                <a:gd name="connsiteY62" fmla="*/ 228600 h 1690688"/>
                <a:gd name="connsiteX63" fmla="*/ 342900 w 2581275"/>
                <a:gd name="connsiteY63" fmla="*/ 261938 h 1690688"/>
                <a:gd name="connsiteX64" fmla="*/ 361950 w 2581275"/>
                <a:gd name="connsiteY64" fmla="*/ 319088 h 1690688"/>
                <a:gd name="connsiteX65" fmla="*/ 290512 w 2581275"/>
                <a:gd name="connsiteY65" fmla="*/ 404813 h 1690688"/>
                <a:gd name="connsiteX66" fmla="*/ 381000 w 2581275"/>
                <a:gd name="connsiteY66" fmla="*/ 490538 h 1690688"/>
                <a:gd name="connsiteX67" fmla="*/ 347662 w 2581275"/>
                <a:gd name="connsiteY67" fmla="*/ 571500 h 1690688"/>
                <a:gd name="connsiteX68" fmla="*/ 352425 w 2581275"/>
                <a:gd name="connsiteY68" fmla="*/ 657225 h 1690688"/>
                <a:gd name="connsiteX69" fmla="*/ 190500 w 2581275"/>
                <a:gd name="connsiteY69" fmla="*/ 723900 h 1690688"/>
                <a:gd name="connsiteX70" fmla="*/ 138112 w 2581275"/>
                <a:gd name="connsiteY70" fmla="*/ 838200 h 1690688"/>
                <a:gd name="connsiteX71" fmla="*/ 90487 w 2581275"/>
                <a:gd name="connsiteY71" fmla="*/ 814388 h 1690688"/>
                <a:gd name="connsiteX72" fmla="*/ 0 w 2581275"/>
                <a:gd name="connsiteY72" fmla="*/ 857250 h 1690688"/>
                <a:gd name="connsiteX73" fmla="*/ 100012 w 2581275"/>
                <a:gd name="connsiteY73" fmla="*/ 947738 h 1690688"/>
                <a:gd name="connsiteX74" fmla="*/ 90487 w 2581275"/>
                <a:gd name="connsiteY74" fmla="*/ 1047750 h 1690688"/>
                <a:gd name="connsiteX75" fmla="*/ 123825 w 2581275"/>
                <a:gd name="connsiteY75" fmla="*/ 1076325 h 1690688"/>
                <a:gd name="connsiteX76" fmla="*/ 190500 w 2581275"/>
                <a:gd name="connsiteY76" fmla="*/ 1033463 h 1690688"/>
                <a:gd name="connsiteX77" fmla="*/ 223837 w 2581275"/>
                <a:gd name="connsiteY77" fmla="*/ 1038225 h 1690688"/>
                <a:gd name="connsiteX78" fmla="*/ 209550 w 2581275"/>
                <a:gd name="connsiteY78" fmla="*/ 1162050 h 1690688"/>
                <a:gd name="connsiteX79" fmla="*/ 280987 w 2581275"/>
                <a:gd name="connsiteY79" fmla="*/ 1152525 h 1690688"/>
                <a:gd name="connsiteX80" fmla="*/ 328612 w 2581275"/>
                <a:gd name="connsiteY80" fmla="*/ 1195388 h 1690688"/>
                <a:gd name="connsiteX81" fmla="*/ 209550 w 2581275"/>
                <a:gd name="connsiteY81" fmla="*/ 1319213 h 1690688"/>
                <a:gd name="connsiteX82" fmla="*/ 147637 w 2581275"/>
                <a:gd name="connsiteY82" fmla="*/ 1533525 h 1690688"/>
                <a:gd name="connsiteX83" fmla="*/ 180975 w 2581275"/>
                <a:gd name="connsiteY83" fmla="*/ 1604963 h 1690688"/>
                <a:gd name="connsiteX84" fmla="*/ 304800 w 2581275"/>
                <a:gd name="connsiteY84" fmla="*/ 1552575 h 1690688"/>
                <a:gd name="connsiteX85" fmla="*/ 381000 w 2581275"/>
                <a:gd name="connsiteY85" fmla="*/ 1585913 h 1690688"/>
                <a:gd name="connsiteX86" fmla="*/ 590550 w 2581275"/>
                <a:gd name="connsiteY86" fmla="*/ 1471613 h 1690688"/>
                <a:gd name="connsiteX87" fmla="*/ 762000 w 2581275"/>
                <a:gd name="connsiteY87" fmla="*/ 1409700 h 1690688"/>
                <a:gd name="connsiteX88" fmla="*/ 919162 w 2581275"/>
                <a:gd name="connsiteY88" fmla="*/ 1414463 h 1690688"/>
                <a:gd name="connsiteX89" fmla="*/ 1071562 w 2581275"/>
                <a:gd name="connsiteY89" fmla="*/ 1371600 h 1690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2581275" h="1690688">
                  <a:moveTo>
                    <a:pt x="1071562" y="1371600"/>
                  </a:moveTo>
                  <a:lnTo>
                    <a:pt x="1143000" y="1328738"/>
                  </a:lnTo>
                  <a:lnTo>
                    <a:pt x="1209675" y="1352550"/>
                  </a:lnTo>
                  <a:lnTo>
                    <a:pt x="1271587" y="1319213"/>
                  </a:lnTo>
                  <a:lnTo>
                    <a:pt x="1371600" y="1357313"/>
                  </a:lnTo>
                  <a:lnTo>
                    <a:pt x="1481137" y="1295400"/>
                  </a:lnTo>
                  <a:lnTo>
                    <a:pt x="1533525" y="1419225"/>
                  </a:lnTo>
                  <a:lnTo>
                    <a:pt x="1690687" y="1376363"/>
                  </a:lnTo>
                  <a:lnTo>
                    <a:pt x="1714500" y="1423988"/>
                  </a:lnTo>
                  <a:lnTo>
                    <a:pt x="1828800" y="1395413"/>
                  </a:lnTo>
                  <a:lnTo>
                    <a:pt x="1890712" y="1614488"/>
                  </a:lnTo>
                  <a:lnTo>
                    <a:pt x="2028825" y="1614488"/>
                  </a:lnTo>
                  <a:lnTo>
                    <a:pt x="2147887" y="1528763"/>
                  </a:lnTo>
                  <a:lnTo>
                    <a:pt x="2290762" y="1690688"/>
                  </a:lnTo>
                  <a:lnTo>
                    <a:pt x="2357437" y="1671638"/>
                  </a:lnTo>
                  <a:lnTo>
                    <a:pt x="2300287" y="1562100"/>
                  </a:lnTo>
                  <a:lnTo>
                    <a:pt x="2319337" y="1509713"/>
                  </a:lnTo>
                  <a:lnTo>
                    <a:pt x="2314575" y="1462088"/>
                  </a:lnTo>
                  <a:lnTo>
                    <a:pt x="2257425" y="1447800"/>
                  </a:lnTo>
                  <a:lnTo>
                    <a:pt x="2276475" y="1281113"/>
                  </a:lnTo>
                  <a:lnTo>
                    <a:pt x="2405062" y="1209675"/>
                  </a:lnTo>
                  <a:lnTo>
                    <a:pt x="2466975" y="1343025"/>
                  </a:lnTo>
                  <a:lnTo>
                    <a:pt x="2547937" y="1338263"/>
                  </a:lnTo>
                  <a:lnTo>
                    <a:pt x="2581275" y="1252538"/>
                  </a:lnTo>
                  <a:lnTo>
                    <a:pt x="2524125" y="1247775"/>
                  </a:lnTo>
                  <a:lnTo>
                    <a:pt x="2490787" y="1181100"/>
                  </a:lnTo>
                  <a:lnTo>
                    <a:pt x="2557462" y="904875"/>
                  </a:lnTo>
                  <a:lnTo>
                    <a:pt x="2495550" y="823913"/>
                  </a:lnTo>
                  <a:lnTo>
                    <a:pt x="2343150" y="990600"/>
                  </a:lnTo>
                  <a:lnTo>
                    <a:pt x="2114550" y="923925"/>
                  </a:lnTo>
                  <a:lnTo>
                    <a:pt x="2114550" y="862013"/>
                  </a:lnTo>
                  <a:lnTo>
                    <a:pt x="1928812" y="781050"/>
                  </a:lnTo>
                  <a:lnTo>
                    <a:pt x="1814512" y="781050"/>
                  </a:lnTo>
                  <a:lnTo>
                    <a:pt x="1819275" y="747713"/>
                  </a:lnTo>
                  <a:lnTo>
                    <a:pt x="1857375" y="738188"/>
                  </a:lnTo>
                  <a:lnTo>
                    <a:pt x="1819275" y="623888"/>
                  </a:lnTo>
                  <a:lnTo>
                    <a:pt x="1919287" y="423863"/>
                  </a:lnTo>
                  <a:lnTo>
                    <a:pt x="1919287" y="333375"/>
                  </a:lnTo>
                  <a:lnTo>
                    <a:pt x="1866900" y="300038"/>
                  </a:lnTo>
                  <a:lnTo>
                    <a:pt x="1838325" y="323850"/>
                  </a:lnTo>
                  <a:lnTo>
                    <a:pt x="1719262" y="228600"/>
                  </a:lnTo>
                  <a:lnTo>
                    <a:pt x="1728787" y="209550"/>
                  </a:lnTo>
                  <a:lnTo>
                    <a:pt x="1652587" y="180975"/>
                  </a:lnTo>
                  <a:lnTo>
                    <a:pt x="1624012" y="157163"/>
                  </a:lnTo>
                  <a:lnTo>
                    <a:pt x="1419225" y="119063"/>
                  </a:lnTo>
                  <a:lnTo>
                    <a:pt x="1381125" y="142875"/>
                  </a:lnTo>
                  <a:lnTo>
                    <a:pt x="1333500" y="47625"/>
                  </a:lnTo>
                  <a:lnTo>
                    <a:pt x="1304925" y="42863"/>
                  </a:lnTo>
                  <a:lnTo>
                    <a:pt x="1300162" y="109538"/>
                  </a:lnTo>
                  <a:lnTo>
                    <a:pt x="1243012" y="100013"/>
                  </a:lnTo>
                  <a:lnTo>
                    <a:pt x="1176337" y="0"/>
                  </a:lnTo>
                  <a:lnTo>
                    <a:pt x="1062037" y="19050"/>
                  </a:lnTo>
                  <a:lnTo>
                    <a:pt x="1023937" y="90488"/>
                  </a:lnTo>
                  <a:lnTo>
                    <a:pt x="1076325" y="128588"/>
                  </a:lnTo>
                  <a:lnTo>
                    <a:pt x="1176337" y="104775"/>
                  </a:lnTo>
                  <a:lnTo>
                    <a:pt x="1200150" y="152400"/>
                  </a:lnTo>
                  <a:lnTo>
                    <a:pt x="1062037" y="223838"/>
                  </a:lnTo>
                  <a:lnTo>
                    <a:pt x="942975" y="233363"/>
                  </a:lnTo>
                  <a:lnTo>
                    <a:pt x="933450" y="185738"/>
                  </a:lnTo>
                  <a:lnTo>
                    <a:pt x="666750" y="266700"/>
                  </a:lnTo>
                  <a:lnTo>
                    <a:pt x="633412" y="228600"/>
                  </a:lnTo>
                  <a:lnTo>
                    <a:pt x="490537" y="276225"/>
                  </a:lnTo>
                  <a:lnTo>
                    <a:pt x="433387" y="228600"/>
                  </a:lnTo>
                  <a:lnTo>
                    <a:pt x="342900" y="261938"/>
                  </a:lnTo>
                  <a:lnTo>
                    <a:pt x="361950" y="319088"/>
                  </a:lnTo>
                  <a:lnTo>
                    <a:pt x="290512" y="404813"/>
                  </a:lnTo>
                  <a:lnTo>
                    <a:pt x="381000" y="490538"/>
                  </a:lnTo>
                  <a:lnTo>
                    <a:pt x="347662" y="571500"/>
                  </a:lnTo>
                  <a:lnTo>
                    <a:pt x="352425" y="657225"/>
                  </a:lnTo>
                  <a:lnTo>
                    <a:pt x="190500" y="723900"/>
                  </a:lnTo>
                  <a:lnTo>
                    <a:pt x="138112" y="838200"/>
                  </a:lnTo>
                  <a:lnTo>
                    <a:pt x="90487" y="814388"/>
                  </a:lnTo>
                  <a:lnTo>
                    <a:pt x="0" y="857250"/>
                  </a:lnTo>
                  <a:lnTo>
                    <a:pt x="100012" y="947738"/>
                  </a:lnTo>
                  <a:lnTo>
                    <a:pt x="90487" y="1047750"/>
                  </a:lnTo>
                  <a:lnTo>
                    <a:pt x="123825" y="1076325"/>
                  </a:lnTo>
                  <a:lnTo>
                    <a:pt x="190500" y="1033463"/>
                  </a:lnTo>
                  <a:lnTo>
                    <a:pt x="223837" y="1038225"/>
                  </a:lnTo>
                  <a:lnTo>
                    <a:pt x="209550" y="1162050"/>
                  </a:lnTo>
                  <a:lnTo>
                    <a:pt x="280987" y="1152525"/>
                  </a:lnTo>
                  <a:lnTo>
                    <a:pt x="328612" y="1195388"/>
                  </a:lnTo>
                  <a:lnTo>
                    <a:pt x="209550" y="1319213"/>
                  </a:lnTo>
                  <a:lnTo>
                    <a:pt x="147637" y="1533525"/>
                  </a:lnTo>
                  <a:lnTo>
                    <a:pt x="180975" y="1604963"/>
                  </a:lnTo>
                  <a:lnTo>
                    <a:pt x="304800" y="1552575"/>
                  </a:lnTo>
                  <a:lnTo>
                    <a:pt x="381000" y="1585913"/>
                  </a:lnTo>
                  <a:lnTo>
                    <a:pt x="590550" y="1471613"/>
                  </a:lnTo>
                  <a:lnTo>
                    <a:pt x="762000" y="1409700"/>
                  </a:lnTo>
                  <a:lnTo>
                    <a:pt x="919162" y="1414463"/>
                  </a:lnTo>
                  <a:lnTo>
                    <a:pt x="1071562" y="1371600"/>
                  </a:lnTo>
                  <a:close/>
                </a:path>
              </a:pathLst>
            </a:custGeom>
            <a:solidFill>
              <a:schemeClr val="bg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Forme libre 7"/>
            <p:cNvSpPr/>
            <p:nvPr/>
          </p:nvSpPr>
          <p:spPr>
            <a:xfrm>
              <a:off x="11179517" y="868885"/>
              <a:ext cx="528957" cy="646008"/>
            </a:xfrm>
            <a:custGeom>
              <a:avLst/>
              <a:gdLst>
                <a:gd name="connsiteX0" fmla="*/ 38100 w 704850"/>
                <a:gd name="connsiteY0" fmla="*/ 90488 h 847725"/>
                <a:gd name="connsiteX1" fmla="*/ 0 w 704850"/>
                <a:gd name="connsiteY1" fmla="*/ 176213 h 847725"/>
                <a:gd name="connsiteX2" fmla="*/ 57150 w 704850"/>
                <a:gd name="connsiteY2" fmla="*/ 171450 h 847725"/>
                <a:gd name="connsiteX3" fmla="*/ 76200 w 704850"/>
                <a:gd name="connsiteY3" fmla="*/ 381000 h 847725"/>
                <a:gd name="connsiteX4" fmla="*/ 366712 w 704850"/>
                <a:gd name="connsiteY4" fmla="*/ 585788 h 847725"/>
                <a:gd name="connsiteX5" fmla="*/ 338137 w 704850"/>
                <a:gd name="connsiteY5" fmla="*/ 685800 h 847725"/>
                <a:gd name="connsiteX6" fmla="*/ 442912 w 704850"/>
                <a:gd name="connsiteY6" fmla="*/ 833438 h 847725"/>
                <a:gd name="connsiteX7" fmla="*/ 490537 w 704850"/>
                <a:gd name="connsiteY7" fmla="*/ 847725 h 847725"/>
                <a:gd name="connsiteX8" fmla="*/ 490537 w 704850"/>
                <a:gd name="connsiteY8" fmla="*/ 561975 h 847725"/>
                <a:gd name="connsiteX9" fmla="*/ 681037 w 704850"/>
                <a:gd name="connsiteY9" fmla="*/ 304800 h 847725"/>
                <a:gd name="connsiteX10" fmla="*/ 681037 w 704850"/>
                <a:gd name="connsiteY10" fmla="*/ 133350 h 847725"/>
                <a:gd name="connsiteX11" fmla="*/ 704850 w 704850"/>
                <a:gd name="connsiteY11" fmla="*/ 119063 h 847725"/>
                <a:gd name="connsiteX12" fmla="*/ 681037 w 704850"/>
                <a:gd name="connsiteY12" fmla="*/ 85725 h 847725"/>
                <a:gd name="connsiteX13" fmla="*/ 523875 w 704850"/>
                <a:gd name="connsiteY13" fmla="*/ 128588 h 847725"/>
                <a:gd name="connsiteX14" fmla="*/ 476250 w 704850"/>
                <a:gd name="connsiteY14" fmla="*/ 0 h 847725"/>
                <a:gd name="connsiteX15" fmla="*/ 366712 w 704850"/>
                <a:gd name="connsiteY15" fmla="*/ 61913 h 847725"/>
                <a:gd name="connsiteX16" fmla="*/ 266700 w 704850"/>
                <a:gd name="connsiteY16" fmla="*/ 23813 h 847725"/>
                <a:gd name="connsiteX17" fmla="*/ 209550 w 704850"/>
                <a:gd name="connsiteY17" fmla="*/ 61913 h 847725"/>
                <a:gd name="connsiteX18" fmla="*/ 138112 w 704850"/>
                <a:gd name="connsiteY18" fmla="*/ 33338 h 847725"/>
                <a:gd name="connsiteX19" fmla="*/ 38100 w 704850"/>
                <a:gd name="connsiteY19" fmla="*/ 90488 h 847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704850" h="847725">
                  <a:moveTo>
                    <a:pt x="38100" y="90488"/>
                  </a:moveTo>
                  <a:lnTo>
                    <a:pt x="0" y="176213"/>
                  </a:lnTo>
                  <a:lnTo>
                    <a:pt x="57150" y="171450"/>
                  </a:lnTo>
                  <a:lnTo>
                    <a:pt x="76200" y="381000"/>
                  </a:lnTo>
                  <a:lnTo>
                    <a:pt x="366712" y="585788"/>
                  </a:lnTo>
                  <a:lnTo>
                    <a:pt x="338137" y="685800"/>
                  </a:lnTo>
                  <a:lnTo>
                    <a:pt x="442912" y="833438"/>
                  </a:lnTo>
                  <a:lnTo>
                    <a:pt x="490537" y="847725"/>
                  </a:lnTo>
                  <a:lnTo>
                    <a:pt x="490537" y="561975"/>
                  </a:lnTo>
                  <a:lnTo>
                    <a:pt x="681037" y="304800"/>
                  </a:lnTo>
                  <a:lnTo>
                    <a:pt x="681037" y="133350"/>
                  </a:lnTo>
                  <a:lnTo>
                    <a:pt x="704850" y="119063"/>
                  </a:lnTo>
                  <a:lnTo>
                    <a:pt x="681037" y="85725"/>
                  </a:lnTo>
                  <a:lnTo>
                    <a:pt x="523875" y="128588"/>
                  </a:lnTo>
                  <a:lnTo>
                    <a:pt x="476250" y="0"/>
                  </a:lnTo>
                  <a:lnTo>
                    <a:pt x="366712" y="61913"/>
                  </a:lnTo>
                  <a:lnTo>
                    <a:pt x="266700" y="23813"/>
                  </a:lnTo>
                  <a:lnTo>
                    <a:pt x="209550" y="61913"/>
                  </a:lnTo>
                  <a:lnTo>
                    <a:pt x="138112" y="33338"/>
                  </a:lnTo>
                  <a:lnTo>
                    <a:pt x="38100" y="90488"/>
                  </a:lnTo>
                  <a:close/>
                </a:path>
              </a:pathLst>
            </a:custGeom>
            <a:solidFill>
              <a:schemeClr val="bg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" name="Forme libre 5"/>
            <p:cNvSpPr/>
            <p:nvPr/>
          </p:nvSpPr>
          <p:spPr>
            <a:xfrm>
              <a:off x="10281207" y="403271"/>
              <a:ext cx="868481" cy="866671"/>
            </a:xfrm>
            <a:custGeom>
              <a:avLst/>
              <a:gdLst>
                <a:gd name="connsiteX0" fmla="*/ 104775 w 1838325"/>
                <a:gd name="connsiteY0" fmla="*/ 1481137 h 1771650"/>
                <a:gd name="connsiteX1" fmla="*/ 204787 w 1838325"/>
                <a:gd name="connsiteY1" fmla="*/ 1400175 h 1771650"/>
                <a:gd name="connsiteX2" fmla="*/ 171450 w 1838325"/>
                <a:gd name="connsiteY2" fmla="*/ 1362075 h 1771650"/>
                <a:gd name="connsiteX3" fmla="*/ 128587 w 1838325"/>
                <a:gd name="connsiteY3" fmla="*/ 1419225 h 1771650"/>
                <a:gd name="connsiteX4" fmla="*/ 147637 w 1838325"/>
                <a:gd name="connsiteY4" fmla="*/ 1323975 h 1771650"/>
                <a:gd name="connsiteX5" fmla="*/ 204787 w 1838325"/>
                <a:gd name="connsiteY5" fmla="*/ 1214437 h 1771650"/>
                <a:gd name="connsiteX6" fmla="*/ 338137 w 1838325"/>
                <a:gd name="connsiteY6" fmla="*/ 1143000 h 1771650"/>
                <a:gd name="connsiteX7" fmla="*/ 366712 w 1838325"/>
                <a:gd name="connsiteY7" fmla="*/ 1114425 h 1771650"/>
                <a:gd name="connsiteX8" fmla="*/ 481012 w 1838325"/>
                <a:gd name="connsiteY8" fmla="*/ 1109662 h 1771650"/>
                <a:gd name="connsiteX9" fmla="*/ 609600 w 1838325"/>
                <a:gd name="connsiteY9" fmla="*/ 1138237 h 1771650"/>
                <a:gd name="connsiteX10" fmla="*/ 704850 w 1838325"/>
                <a:gd name="connsiteY10" fmla="*/ 1209675 h 1771650"/>
                <a:gd name="connsiteX11" fmla="*/ 709612 w 1838325"/>
                <a:gd name="connsiteY11" fmla="*/ 1238250 h 1771650"/>
                <a:gd name="connsiteX12" fmla="*/ 638175 w 1838325"/>
                <a:gd name="connsiteY12" fmla="*/ 1247775 h 1771650"/>
                <a:gd name="connsiteX13" fmla="*/ 666750 w 1838325"/>
                <a:gd name="connsiteY13" fmla="*/ 1543050 h 1771650"/>
                <a:gd name="connsiteX14" fmla="*/ 871537 w 1838325"/>
                <a:gd name="connsiteY14" fmla="*/ 1771650 h 1771650"/>
                <a:gd name="connsiteX15" fmla="*/ 1190625 w 1838325"/>
                <a:gd name="connsiteY15" fmla="*/ 1662112 h 1771650"/>
                <a:gd name="connsiteX16" fmla="*/ 1414462 w 1838325"/>
                <a:gd name="connsiteY16" fmla="*/ 1733550 h 1771650"/>
                <a:gd name="connsiteX17" fmla="*/ 1609725 w 1838325"/>
                <a:gd name="connsiteY17" fmla="*/ 1485900 h 1771650"/>
                <a:gd name="connsiteX18" fmla="*/ 1571625 w 1838325"/>
                <a:gd name="connsiteY18" fmla="*/ 1362075 h 1771650"/>
                <a:gd name="connsiteX19" fmla="*/ 1795462 w 1838325"/>
                <a:gd name="connsiteY19" fmla="*/ 1138237 h 1771650"/>
                <a:gd name="connsiteX20" fmla="*/ 1838325 w 1838325"/>
                <a:gd name="connsiteY20" fmla="*/ 1057275 h 1771650"/>
                <a:gd name="connsiteX21" fmla="*/ 1824037 w 1838325"/>
                <a:gd name="connsiteY21" fmla="*/ 1023937 h 1771650"/>
                <a:gd name="connsiteX22" fmla="*/ 1709737 w 1838325"/>
                <a:gd name="connsiteY22" fmla="*/ 1085850 h 1771650"/>
                <a:gd name="connsiteX23" fmla="*/ 1543050 w 1838325"/>
                <a:gd name="connsiteY23" fmla="*/ 1090612 h 1771650"/>
                <a:gd name="connsiteX24" fmla="*/ 1423987 w 1838325"/>
                <a:gd name="connsiteY24" fmla="*/ 1143000 h 1771650"/>
                <a:gd name="connsiteX25" fmla="*/ 1366837 w 1838325"/>
                <a:gd name="connsiteY25" fmla="*/ 1157287 h 1771650"/>
                <a:gd name="connsiteX26" fmla="*/ 1162050 w 1838325"/>
                <a:gd name="connsiteY26" fmla="*/ 1271587 h 1771650"/>
                <a:gd name="connsiteX27" fmla="*/ 1076325 w 1838325"/>
                <a:gd name="connsiteY27" fmla="*/ 1228725 h 1771650"/>
                <a:gd name="connsiteX28" fmla="*/ 947737 w 1838325"/>
                <a:gd name="connsiteY28" fmla="*/ 1285875 h 1771650"/>
                <a:gd name="connsiteX29" fmla="*/ 923925 w 1838325"/>
                <a:gd name="connsiteY29" fmla="*/ 1219200 h 1771650"/>
                <a:gd name="connsiteX30" fmla="*/ 990600 w 1838325"/>
                <a:gd name="connsiteY30" fmla="*/ 1000125 h 1771650"/>
                <a:gd name="connsiteX31" fmla="*/ 1104900 w 1838325"/>
                <a:gd name="connsiteY31" fmla="*/ 876300 h 1771650"/>
                <a:gd name="connsiteX32" fmla="*/ 1062037 w 1838325"/>
                <a:gd name="connsiteY32" fmla="*/ 823912 h 1771650"/>
                <a:gd name="connsiteX33" fmla="*/ 995362 w 1838325"/>
                <a:gd name="connsiteY33" fmla="*/ 842962 h 1771650"/>
                <a:gd name="connsiteX34" fmla="*/ 1009650 w 1838325"/>
                <a:gd name="connsiteY34" fmla="*/ 723900 h 1771650"/>
                <a:gd name="connsiteX35" fmla="*/ 981075 w 1838325"/>
                <a:gd name="connsiteY35" fmla="*/ 704850 h 1771650"/>
                <a:gd name="connsiteX36" fmla="*/ 909637 w 1838325"/>
                <a:gd name="connsiteY36" fmla="*/ 752475 h 1771650"/>
                <a:gd name="connsiteX37" fmla="*/ 871537 w 1838325"/>
                <a:gd name="connsiteY37" fmla="*/ 723900 h 1771650"/>
                <a:gd name="connsiteX38" fmla="*/ 885825 w 1838325"/>
                <a:gd name="connsiteY38" fmla="*/ 623887 h 1771650"/>
                <a:gd name="connsiteX39" fmla="*/ 776287 w 1838325"/>
                <a:gd name="connsiteY39" fmla="*/ 533400 h 1771650"/>
                <a:gd name="connsiteX40" fmla="*/ 876300 w 1838325"/>
                <a:gd name="connsiteY40" fmla="*/ 490537 h 1771650"/>
                <a:gd name="connsiteX41" fmla="*/ 919162 w 1838325"/>
                <a:gd name="connsiteY41" fmla="*/ 514350 h 1771650"/>
                <a:gd name="connsiteX42" fmla="*/ 962025 w 1838325"/>
                <a:gd name="connsiteY42" fmla="*/ 409575 h 1771650"/>
                <a:gd name="connsiteX43" fmla="*/ 1133475 w 1838325"/>
                <a:gd name="connsiteY43" fmla="*/ 333375 h 1771650"/>
                <a:gd name="connsiteX44" fmla="*/ 1119187 w 1838325"/>
                <a:gd name="connsiteY44" fmla="*/ 257175 h 1771650"/>
                <a:gd name="connsiteX45" fmla="*/ 1157287 w 1838325"/>
                <a:gd name="connsiteY45" fmla="*/ 166687 h 1771650"/>
                <a:gd name="connsiteX46" fmla="*/ 1076325 w 1838325"/>
                <a:gd name="connsiteY46" fmla="*/ 85725 h 1771650"/>
                <a:gd name="connsiteX47" fmla="*/ 895350 w 1838325"/>
                <a:gd name="connsiteY47" fmla="*/ 71437 h 1771650"/>
                <a:gd name="connsiteX48" fmla="*/ 890587 w 1838325"/>
                <a:gd name="connsiteY48" fmla="*/ 4762 h 1771650"/>
                <a:gd name="connsiteX49" fmla="*/ 771525 w 1838325"/>
                <a:gd name="connsiteY49" fmla="*/ 0 h 1771650"/>
                <a:gd name="connsiteX50" fmla="*/ 700087 w 1838325"/>
                <a:gd name="connsiteY50" fmla="*/ 109537 h 1771650"/>
                <a:gd name="connsiteX51" fmla="*/ 781050 w 1838325"/>
                <a:gd name="connsiteY51" fmla="*/ 133350 h 1771650"/>
                <a:gd name="connsiteX52" fmla="*/ 809625 w 1838325"/>
                <a:gd name="connsiteY52" fmla="*/ 161925 h 1771650"/>
                <a:gd name="connsiteX53" fmla="*/ 504825 w 1838325"/>
                <a:gd name="connsiteY53" fmla="*/ 576262 h 1771650"/>
                <a:gd name="connsiteX54" fmla="*/ 385762 w 1838325"/>
                <a:gd name="connsiteY54" fmla="*/ 585787 h 1771650"/>
                <a:gd name="connsiteX55" fmla="*/ 366712 w 1838325"/>
                <a:gd name="connsiteY55" fmla="*/ 652462 h 1771650"/>
                <a:gd name="connsiteX56" fmla="*/ 376237 w 1838325"/>
                <a:gd name="connsiteY56" fmla="*/ 795337 h 1771650"/>
                <a:gd name="connsiteX57" fmla="*/ 109537 w 1838325"/>
                <a:gd name="connsiteY57" fmla="*/ 1014412 h 1771650"/>
                <a:gd name="connsiteX58" fmla="*/ 142875 w 1838325"/>
                <a:gd name="connsiteY58" fmla="*/ 1047750 h 1771650"/>
                <a:gd name="connsiteX59" fmla="*/ 80962 w 1838325"/>
                <a:gd name="connsiteY59" fmla="*/ 1162050 h 1771650"/>
                <a:gd name="connsiteX60" fmla="*/ 133350 w 1838325"/>
                <a:gd name="connsiteY60" fmla="*/ 1252537 h 1771650"/>
                <a:gd name="connsiteX61" fmla="*/ 90487 w 1838325"/>
                <a:gd name="connsiteY61" fmla="*/ 1395412 h 1771650"/>
                <a:gd name="connsiteX62" fmla="*/ 0 w 1838325"/>
                <a:gd name="connsiteY62" fmla="*/ 1423987 h 1771650"/>
                <a:gd name="connsiteX63" fmla="*/ 0 w 1838325"/>
                <a:gd name="connsiteY63" fmla="*/ 1466850 h 1771650"/>
                <a:gd name="connsiteX64" fmla="*/ 104775 w 1838325"/>
                <a:gd name="connsiteY64" fmla="*/ 1481137 h 1771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838325" h="1771650">
                  <a:moveTo>
                    <a:pt x="104775" y="1481137"/>
                  </a:moveTo>
                  <a:lnTo>
                    <a:pt x="204787" y="1400175"/>
                  </a:lnTo>
                  <a:lnTo>
                    <a:pt x="171450" y="1362075"/>
                  </a:lnTo>
                  <a:lnTo>
                    <a:pt x="128587" y="1419225"/>
                  </a:lnTo>
                  <a:lnTo>
                    <a:pt x="147637" y="1323975"/>
                  </a:lnTo>
                  <a:lnTo>
                    <a:pt x="204787" y="1214437"/>
                  </a:lnTo>
                  <a:lnTo>
                    <a:pt x="338137" y="1143000"/>
                  </a:lnTo>
                  <a:lnTo>
                    <a:pt x="366712" y="1114425"/>
                  </a:lnTo>
                  <a:lnTo>
                    <a:pt x="481012" y="1109662"/>
                  </a:lnTo>
                  <a:lnTo>
                    <a:pt x="609600" y="1138237"/>
                  </a:lnTo>
                  <a:lnTo>
                    <a:pt x="704850" y="1209675"/>
                  </a:lnTo>
                  <a:lnTo>
                    <a:pt x="709612" y="1238250"/>
                  </a:lnTo>
                  <a:lnTo>
                    <a:pt x="638175" y="1247775"/>
                  </a:lnTo>
                  <a:lnTo>
                    <a:pt x="666750" y="1543050"/>
                  </a:lnTo>
                  <a:lnTo>
                    <a:pt x="871537" y="1771650"/>
                  </a:lnTo>
                  <a:lnTo>
                    <a:pt x="1190625" y="1662112"/>
                  </a:lnTo>
                  <a:lnTo>
                    <a:pt x="1414462" y="1733550"/>
                  </a:lnTo>
                  <a:lnTo>
                    <a:pt x="1609725" y="1485900"/>
                  </a:lnTo>
                  <a:lnTo>
                    <a:pt x="1571625" y="1362075"/>
                  </a:lnTo>
                  <a:lnTo>
                    <a:pt x="1795462" y="1138237"/>
                  </a:lnTo>
                  <a:lnTo>
                    <a:pt x="1838325" y="1057275"/>
                  </a:lnTo>
                  <a:lnTo>
                    <a:pt x="1824037" y="1023937"/>
                  </a:lnTo>
                  <a:lnTo>
                    <a:pt x="1709737" y="1085850"/>
                  </a:lnTo>
                  <a:lnTo>
                    <a:pt x="1543050" y="1090612"/>
                  </a:lnTo>
                  <a:lnTo>
                    <a:pt x="1423987" y="1143000"/>
                  </a:lnTo>
                  <a:lnTo>
                    <a:pt x="1366837" y="1157287"/>
                  </a:lnTo>
                  <a:lnTo>
                    <a:pt x="1162050" y="1271587"/>
                  </a:lnTo>
                  <a:lnTo>
                    <a:pt x="1076325" y="1228725"/>
                  </a:lnTo>
                  <a:lnTo>
                    <a:pt x="947737" y="1285875"/>
                  </a:lnTo>
                  <a:lnTo>
                    <a:pt x="923925" y="1219200"/>
                  </a:lnTo>
                  <a:lnTo>
                    <a:pt x="990600" y="1000125"/>
                  </a:lnTo>
                  <a:lnTo>
                    <a:pt x="1104900" y="876300"/>
                  </a:lnTo>
                  <a:lnTo>
                    <a:pt x="1062037" y="823912"/>
                  </a:lnTo>
                  <a:lnTo>
                    <a:pt x="995362" y="842962"/>
                  </a:lnTo>
                  <a:lnTo>
                    <a:pt x="1009650" y="723900"/>
                  </a:lnTo>
                  <a:lnTo>
                    <a:pt x="981075" y="704850"/>
                  </a:lnTo>
                  <a:lnTo>
                    <a:pt x="909637" y="752475"/>
                  </a:lnTo>
                  <a:lnTo>
                    <a:pt x="871537" y="723900"/>
                  </a:lnTo>
                  <a:lnTo>
                    <a:pt x="885825" y="623887"/>
                  </a:lnTo>
                  <a:lnTo>
                    <a:pt x="776287" y="533400"/>
                  </a:lnTo>
                  <a:lnTo>
                    <a:pt x="876300" y="490537"/>
                  </a:lnTo>
                  <a:lnTo>
                    <a:pt x="919162" y="514350"/>
                  </a:lnTo>
                  <a:lnTo>
                    <a:pt x="962025" y="409575"/>
                  </a:lnTo>
                  <a:lnTo>
                    <a:pt x="1133475" y="333375"/>
                  </a:lnTo>
                  <a:lnTo>
                    <a:pt x="1119187" y="257175"/>
                  </a:lnTo>
                  <a:lnTo>
                    <a:pt x="1157287" y="166687"/>
                  </a:lnTo>
                  <a:lnTo>
                    <a:pt x="1076325" y="85725"/>
                  </a:lnTo>
                  <a:lnTo>
                    <a:pt x="895350" y="71437"/>
                  </a:lnTo>
                  <a:lnTo>
                    <a:pt x="890587" y="4762"/>
                  </a:lnTo>
                  <a:lnTo>
                    <a:pt x="771525" y="0"/>
                  </a:lnTo>
                  <a:lnTo>
                    <a:pt x="700087" y="109537"/>
                  </a:lnTo>
                  <a:lnTo>
                    <a:pt x="781050" y="133350"/>
                  </a:lnTo>
                  <a:lnTo>
                    <a:pt x="809625" y="161925"/>
                  </a:lnTo>
                  <a:lnTo>
                    <a:pt x="504825" y="576262"/>
                  </a:lnTo>
                  <a:lnTo>
                    <a:pt x="385762" y="585787"/>
                  </a:lnTo>
                  <a:lnTo>
                    <a:pt x="366712" y="652462"/>
                  </a:lnTo>
                  <a:lnTo>
                    <a:pt x="376237" y="795337"/>
                  </a:lnTo>
                  <a:lnTo>
                    <a:pt x="109537" y="1014412"/>
                  </a:lnTo>
                  <a:lnTo>
                    <a:pt x="142875" y="1047750"/>
                  </a:lnTo>
                  <a:lnTo>
                    <a:pt x="80962" y="1162050"/>
                  </a:lnTo>
                  <a:lnTo>
                    <a:pt x="133350" y="1252537"/>
                  </a:lnTo>
                  <a:lnTo>
                    <a:pt x="90487" y="1395412"/>
                  </a:lnTo>
                  <a:lnTo>
                    <a:pt x="0" y="1423987"/>
                  </a:lnTo>
                  <a:lnTo>
                    <a:pt x="0" y="1466850"/>
                  </a:lnTo>
                  <a:lnTo>
                    <a:pt x="104775" y="1481137"/>
                  </a:lnTo>
                  <a:close/>
                </a:path>
              </a:pathLst>
            </a:custGeom>
            <a:solidFill>
              <a:schemeClr val="bg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1" name="Textfeld 50"/>
          <p:cNvSpPr txBox="1"/>
          <p:nvPr/>
        </p:nvSpPr>
        <p:spPr>
          <a:xfrm>
            <a:off x="371475" y="6367067"/>
            <a:ext cx="1093804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ource: GfK Switzerland, </a:t>
            </a:r>
            <a:r>
              <a:rPr lang="en-GB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DigiMig</a:t>
            </a:r>
            <a:r>
              <a:rPr lang="en-GB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survey, n(2023/2)=2’725); (n[DS, 2023/2]=1’777, n[SR, 2023/2]=694, n[SI, 2023/2]=254) </a:t>
            </a: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DA63B3BF-3AB6-44F4-A92C-A253314166C1}"/>
              </a:ext>
            </a:extLst>
          </p:cNvPr>
          <p:cNvGrpSpPr/>
          <p:nvPr/>
        </p:nvGrpSpPr>
        <p:grpSpPr>
          <a:xfrm>
            <a:off x="371475" y="1725758"/>
            <a:ext cx="3632657" cy="932277"/>
            <a:chOff x="371475" y="1725758"/>
            <a:chExt cx="3632657" cy="932277"/>
          </a:xfrm>
        </p:grpSpPr>
        <p:sp>
          <p:nvSpPr>
            <p:cNvPr id="35" name="Textfeld 34"/>
            <p:cNvSpPr txBox="1"/>
            <p:nvPr/>
          </p:nvSpPr>
          <p:spPr>
            <a:xfrm>
              <a:off x="1723107" y="2319481"/>
              <a:ext cx="929393" cy="338554"/>
            </a:xfrm>
            <a:prstGeom prst="rect">
              <a:avLst/>
            </a:prstGeom>
            <a:noFill/>
          </p:spPr>
          <p:txBody>
            <a:bodyPr spcFirstLastPara="1" wrap="none" numCol="1" rtlCol="0">
              <a:prstTxWarp prst="textArchDown">
                <a:avLst/>
              </a:prstTxWarp>
              <a:spAutoFit/>
            </a:bodyPr>
            <a:lstStyle>
              <a:defPPr>
                <a:defRPr lang="de-DE"/>
              </a:defPPr>
              <a:lvl1pPr algn="ctr">
                <a:defRPr sz="1600" b="1">
                  <a:solidFill>
                    <a:srgbClr val="DA1838"/>
                  </a:solidFill>
                  <a:latin typeface="Calibri Light" panose="020F0302020204030204" pitchFamily="34" charset="0"/>
                </a:defRPr>
              </a:lvl1pPr>
            </a:lstStyle>
            <a:p>
              <a:r>
                <a:rPr lang="en-GB" dirty="0"/>
                <a:t>German-speaking</a:t>
              </a:r>
            </a:p>
          </p:txBody>
        </p:sp>
        <p:sp>
          <p:nvSpPr>
            <p:cNvPr id="58" name="RbLeanShape Right U-Shape 13"/>
            <p:cNvSpPr/>
            <p:nvPr/>
          </p:nvSpPr>
          <p:spPr>
            <a:xfrm rot="5400000">
              <a:off x="2022126" y="483335"/>
              <a:ext cx="331355" cy="3632657"/>
            </a:xfrm>
            <a:custGeom>
              <a:avLst/>
              <a:gdLst>
                <a:gd name="connsiteX0" fmla="*/ 1270000 w 1270000"/>
                <a:gd name="connsiteY0" fmla="*/ 0 h 3175000"/>
                <a:gd name="connsiteX1" fmla="*/ 0 w 1270000"/>
                <a:gd name="connsiteY1" fmla="*/ 0 h 3175000"/>
                <a:gd name="connsiteX2" fmla="*/ 0 w 1270000"/>
                <a:gd name="connsiteY2" fmla="*/ 3175000 h 3175000"/>
                <a:gd name="connsiteX3" fmla="*/ 1270000 w 1270000"/>
                <a:gd name="connsiteY3" fmla="*/ 3175000 h 31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0" h="3175000">
                  <a:moveTo>
                    <a:pt x="1270000" y="0"/>
                  </a:moveTo>
                  <a:lnTo>
                    <a:pt x="0" y="0"/>
                  </a:lnTo>
                  <a:lnTo>
                    <a:pt x="0" y="3175000"/>
                  </a:lnTo>
                  <a:lnTo>
                    <a:pt x="1270000" y="3175000"/>
                  </a:lnTo>
                </a:path>
              </a:pathLst>
            </a:custGeom>
            <a:ln w="19050">
              <a:solidFill>
                <a:srgbClr val="DA183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0000" tIns="90000" rIns="0" bIns="0" rtlCol="0" anchor="t"/>
            <a:lstStyle/>
            <a:p>
              <a:pPr fontAlgn="ctr"/>
              <a:endParaRPr lang="en-GB" sz="1300" b="1" dirty="0"/>
            </a:p>
          </p:txBody>
        </p:sp>
        <p:sp>
          <p:nvSpPr>
            <p:cNvPr id="57" name="Ellipse 56"/>
            <p:cNvSpPr/>
            <p:nvPr/>
          </p:nvSpPr>
          <p:spPr>
            <a:xfrm>
              <a:off x="1816039" y="1725758"/>
              <a:ext cx="743528" cy="743528"/>
            </a:xfrm>
            <a:prstGeom prst="ellipse">
              <a:avLst/>
            </a:prstGeom>
            <a:gradFill>
              <a:gsLst>
                <a:gs pos="100000">
                  <a:srgbClr val="F5A1AF"/>
                </a:gs>
                <a:gs pos="35000">
                  <a:srgbClr val="DA1838"/>
                </a:gs>
                <a:gs pos="1000">
                  <a:srgbClr val="A2122A"/>
                </a:gs>
                <a:gs pos="65000">
                  <a:srgbClr val="EC526C"/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27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33" name="Picture 2" descr="http://upload.wikimedia.org/wikipedia/de/f/f7/Karte_gruene_schweiz.png"/>
            <p:cNvPicPr>
              <a:picLocks noChangeArrowheads="1"/>
            </p:cNvPicPr>
            <p:nvPr/>
          </p:nvPicPr>
          <p:blipFill>
            <a:blip r:embed="rId11" cstate="print">
              <a:duotone>
                <a:srgbClr val="D2D2D2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91970" y="1899076"/>
              <a:ext cx="591666" cy="427699"/>
            </a:xfrm>
            <a:prstGeom prst="rect">
              <a:avLst/>
            </a:prstGeom>
            <a:noFill/>
            <a:ln w="6350"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4" name="Forme libre 6"/>
          <p:cNvSpPr/>
          <p:nvPr/>
        </p:nvSpPr>
        <p:spPr>
          <a:xfrm>
            <a:off x="2023527" y="1909762"/>
            <a:ext cx="444772" cy="313454"/>
          </a:xfrm>
          <a:custGeom>
            <a:avLst/>
            <a:gdLst>
              <a:gd name="connsiteX0" fmla="*/ 1071562 w 2581275"/>
              <a:gd name="connsiteY0" fmla="*/ 1371600 h 1690688"/>
              <a:gd name="connsiteX1" fmla="*/ 1143000 w 2581275"/>
              <a:gd name="connsiteY1" fmla="*/ 1328738 h 1690688"/>
              <a:gd name="connsiteX2" fmla="*/ 1209675 w 2581275"/>
              <a:gd name="connsiteY2" fmla="*/ 1352550 h 1690688"/>
              <a:gd name="connsiteX3" fmla="*/ 1271587 w 2581275"/>
              <a:gd name="connsiteY3" fmla="*/ 1319213 h 1690688"/>
              <a:gd name="connsiteX4" fmla="*/ 1371600 w 2581275"/>
              <a:gd name="connsiteY4" fmla="*/ 1357313 h 1690688"/>
              <a:gd name="connsiteX5" fmla="*/ 1481137 w 2581275"/>
              <a:gd name="connsiteY5" fmla="*/ 1295400 h 1690688"/>
              <a:gd name="connsiteX6" fmla="*/ 1533525 w 2581275"/>
              <a:gd name="connsiteY6" fmla="*/ 1419225 h 1690688"/>
              <a:gd name="connsiteX7" fmla="*/ 1690687 w 2581275"/>
              <a:gd name="connsiteY7" fmla="*/ 1376363 h 1690688"/>
              <a:gd name="connsiteX8" fmla="*/ 1714500 w 2581275"/>
              <a:gd name="connsiteY8" fmla="*/ 1423988 h 1690688"/>
              <a:gd name="connsiteX9" fmla="*/ 1828800 w 2581275"/>
              <a:gd name="connsiteY9" fmla="*/ 1395413 h 1690688"/>
              <a:gd name="connsiteX10" fmla="*/ 1890712 w 2581275"/>
              <a:gd name="connsiteY10" fmla="*/ 1614488 h 1690688"/>
              <a:gd name="connsiteX11" fmla="*/ 2028825 w 2581275"/>
              <a:gd name="connsiteY11" fmla="*/ 1614488 h 1690688"/>
              <a:gd name="connsiteX12" fmla="*/ 2147887 w 2581275"/>
              <a:gd name="connsiteY12" fmla="*/ 1528763 h 1690688"/>
              <a:gd name="connsiteX13" fmla="*/ 2290762 w 2581275"/>
              <a:gd name="connsiteY13" fmla="*/ 1690688 h 1690688"/>
              <a:gd name="connsiteX14" fmla="*/ 2357437 w 2581275"/>
              <a:gd name="connsiteY14" fmla="*/ 1671638 h 1690688"/>
              <a:gd name="connsiteX15" fmla="*/ 2300287 w 2581275"/>
              <a:gd name="connsiteY15" fmla="*/ 1562100 h 1690688"/>
              <a:gd name="connsiteX16" fmla="*/ 2319337 w 2581275"/>
              <a:gd name="connsiteY16" fmla="*/ 1509713 h 1690688"/>
              <a:gd name="connsiteX17" fmla="*/ 2314575 w 2581275"/>
              <a:gd name="connsiteY17" fmla="*/ 1462088 h 1690688"/>
              <a:gd name="connsiteX18" fmla="*/ 2257425 w 2581275"/>
              <a:gd name="connsiteY18" fmla="*/ 1447800 h 1690688"/>
              <a:gd name="connsiteX19" fmla="*/ 2276475 w 2581275"/>
              <a:gd name="connsiteY19" fmla="*/ 1281113 h 1690688"/>
              <a:gd name="connsiteX20" fmla="*/ 2405062 w 2581275"/>
              <a:gd name="connsiteY20" fmla="*/ 1209675 h 1690688"/>
              <a:gd name="connsiteX21" fmla="*/ 2466975 w 2581275"/>
              <a:gd name="connsiteY21" fmla="*/ 1343025 h 1690688"/>
              <a:gd name="connsiteX22" fmla="*/ 2547937 w 2581275"/>
              <a:gd name="connsiteY22" fmla="*/ 1338263 h 1690688"/>
              <a:gd name="connsiteX23" fmla="*/ 2581275 w 2581275"/>
              <a:gd name="connsiteY23" fmla="*/ 1252538 h 1690688"/>
              <a:gd name="connsiteX24" fmla="*/ 2524125 w 2581275"/>
              <a:gd name="connsiteY24" fmla="*/ 1247775 h 1690688"/>
              <a:gd name="connsiteX25" fmla="*/ 2490787 w 2581275"/>
              <a:gd name="connsiteY25" fmla="*/ 1181100 h 1690688"/>
              <a:gd name="connsiteX26" fmla="*/ 2557462 w 2581275"/>
              <a:gd name="connsiteY26" fmla="*/ 904875 h 1690688"/>
              <a:gd name="connsiteX27" fmla="*/ 2495550 w 2581275"/>
              <a:gd name="connsiteY27" fmla="*/ 823913 h 1690688"/>
              <a:gd name="connsiteX28" fmla="*/ 2343150 w 2581275"/>
              <a:gd name="connsiteY28" fmla="*/ 990600 h 1690688"/>
              <a:gd name="connsiteX29" fmla="*/ 2114550 w 2581275"/>
              <a:gd name="connsiteY29" fmla="*/ 923925 h 1690688"/>
              <a:gd name="connsiteX30" fmla="*/ 2114550 w 2581275"/>
              <a:gd name="connsiteY30" fmla="*/ 862013 h 1690688"/>
              <a:gd name="connsiteX31" fmla="*/ 1928812 w 2581275"/>
              <a:gd name="connsiteY31" fmla="*/ 781050 h 1690688"/>
              <a:gd name="connsiteX32" fmla="*/ 1814512 w 2581275"/>
              <a:gd name="connsiteY32" fmla="*/ 781050 h 1690688"/>
              <a:gd name="connsiteX33" fmla="*/ 1819275 w 2581275"/>
              <a:gd name="connsiteY33" fmla="*/ 747713 h 1690688"/>
              <a:gd name="connsiteX34" fmla="*/ 1857375 w 2581275"/>
              <a:gd name="connsiteY34" fmla="*/ 738188 h 1690688"/>
              <a:gd name="connsiteX35" fmla="*/ 1819275 w 2581275"/>
              <a:gd name="connsiteY35" fmla="*/ 623888 h 1690688"/>
              <a:gd name="connsiteX36" fmla="*/ 1919287 w 2581275"/>
              <a:gd name="connsiteY36" fmla="*/ 423863 h 1690688"/>
              <a:gd name="connsiteX37" fmla="*/ 1919287 w 2581275"/>
              <a:gd name="connsiteY37" fmla="*/ 333375 h 1690688"/>
              <a:gd name="connsiteX38" fmla="*/ 1866900 w 2581275"/>
              <a:gd name="connsiteY38" fmla="*/ 300038 h 1690688"/>
              <a:gd name="connsiteX39" fmla="*/ 1838325 w 2581275"/>
              <a:gd name="connsiteY39" fmla="*/ 323850 h 1690688"/>
              <a:gd name="connsiteX40" fmla="*/ 1719262 w 2581275"/>
              <a:gd name="connsiteY40" fmla="*/ 228600 h 1690688"/>
              <a:gd name="connsiteX41" fmla="*/ 1728787 w 2581275"/>
              <a:gd name="connsiteY41" fmla="*/ 209550 h 1690688"/>
              <a:gd name="connsiteX42" fmla="*/ 1652587 w 2581275"/>
              <a:gd name="connsiteY42" fmla="*/ 180975 h 1690688"/>
              <a:gd name="connsiteX43" fmla="*/ 1624012 w 2581275"/>
              <a:gd name="connsiteY43" fmla="*/ 157163 h 1690688"/>
              <a:gd name="connsiteX44" fmla="*/ 1419225 w 2581275"/>
              <a:gd name="connsiteY44" fmla="*/ 119063 h 1690688"/>
              <a:gd name="connsiteX45" fmla="*/ 1381125 w 2581275"/>
              <a:gd name="connsiteY45" fmla="*/ 142875 h 1690688"/>
              <a:gd name="connsiteX46" fmla="*/ 1333500 w 2581275"/>
              <a:gd name="connsiteY46" fmla="*/ 47625 h 1690688"/>
              <a:gd name="connsiteX47" fmla="*/ 1304925 w 2581275"/>
              <a:gd name="connsiteY47" fmla="*/ 42863 h 1690688"/>
              <a:gd name="connsiteX48" fmla="*/ 1300162 w 2581275"/>
              <a:gd name="connsiteY48" fmla="*/ 109538 h 1690688"/>
              <a:gd name="connsiteX49" fmla="*/ 1243012 w 2581275"/>
              <a:gd name="connsiteY49" fmla="*/ 100013 h 1690688"/>
              <a:gd name="connsiteX50" fmla="*/ 1176337 w 2581275"/>
              <a:gd name="connsiteY50" fmla="*/ 0 h 1690688"/>
              <a:gd name="connsiteX51" fmla="*/ 1062037 w 2581275"/>
              <a:gd name="connsiteY51" fmla="*/ 19050 h 1690688"/>
              <a:gd name="connsiteX52" fmla="*/ 1023937 w 2581275"/>
              <a:gd name="connsiteY52" fmla="*/ 90488 h 1690688"/>
              <a:gd name="connsiteX53" fmla="*/ 1076325 w 2581275"/>
              <a:gd name="connsiteY53" fmla="*/ 128588 h 1690688"/>
              <a:gd name="connsiteX54" fmla="*/ 1176337 w 2581275"/>
              <a:gd name="connsiteY54" fmla="*/ 104775 h 1690688"/>
              <a:gd name="connsiteX55" fmla="*/ 1200150 w 2581275"/>
              <a:gd name="connsiteY55" fmla="*/ 152400 h 1690688"/>
              <a:gd name="connsiteX56" fmla="*/ 1062037 w 2581275"/>
              <a:gd name="connsiteY56" fmla="*/ 223838 h 1690688"/>
              <a:gd name="connsiteX57" fmla="*/ 942975 w 2581275"/>
              <a:gd name="connsiteY57" fmla="*/ 233363 h 1690688"/>
              <a:gd name="connsiteX58" fmla="*/ 933450 w 2581275"/>
              <a:gd name="connsiteY58" fmla="*/ 185738 h 1690688"/>
              <a:gd name="connsiteX59" fmla="*/ 666750 w 2581275"/>
              <a:gd name="connsiteY59" fmla="*/ 266700 h 1690688"/>
              <a:gd name="connsiteX60" fmla="*/ 633412 w 2581275"/>
              <a:gd name="connsiteY60" fmla="*/ 228600 h 1690688"/>
              <a:gd name="connsiteX61" fmla="*/ 490537 w 2581275"/>
              <a:gd name="connsiteY61" fmla="*/ 276225 h 1690688"/>
              <a:gd name="connsiteX62" fmla="*/ 433387 w 2581275"/>
              <a:gd name="connsiteY62" fmla="*/ 228600 h 1690688"/>
              <a:gd name="connsiteX63" fmla="*/ 342900 w 2581275"/>
              <a:gd name="connsiteY63" fmla="*/ 261938 h 1690688"/>
              <a:gd name="connsiteX64" fmla="*/ 361950 w 2581275"/>
              <a:gd name="connsiteY64" fmla="*/ 319088 h 1690688"/>
              <a:gd name="connsiteX65" fmla="*/ 290512 w 2581275"/>
              <a:gd name="connsiteY65" fmla="*/ 404813 h 1690688"/>
              <a:gd name="connsiteX66" fmla="*/ 381000 w 2581275"/>
              <a:gd name="connsiteY66" fmla="*/ 490538 h 1690688"/>
              <a:gd name="connsiteX67" fmla="*/ 347662 w 2581275"/>
              <a:gd name="connsiteY67" fmla="*/ 571500 h 1690688"/>
              <a:gd name="connsiteX68" fmla="*/ 352425 w 2581275"/>
              <a:gd name="connsiteY68" fmla="*/ 657225 h 1690688"/>
              <a:gd name="connsiteX69" fmla="*/ 190500 w 2581275"/>
              <a:gd name="connsiteY69" fmla="*/ 723900 h 1690688"/>
              <a:gd name="connsiteX70" fmla="*/ 138112 w 2581275"/>
              <a:gd name="connsiteY70" fmla="*/ 838200 h 1690688"/>
              <a:gd name="connsiteX71" fmla="*/ 90487 w 2581275"/>
              <a:gd name="connsiteY71" fmla="*/ 814388 h 1690688"/>
              <a:gd name="connsiteX72" fmla="*/ 0 w 2581275"/>
              <a:gd name="connsiteY72" fmla="*/ 857250 h 1690688"/>
              <a:gd name="connsiteX73" fmla="*/ 100012 w 2581275"/>
              <a:gd name="connsiteY73" fmla="*/ 947738 h 1690688"/>
              <a:gd name="connsiteX74" fmla="*/ 90487 w 2581275"/>
              <a:gd name="connsiteY74" fmla="*/ 1047750 h 1690688"/>
              <a:gd name="connsiteX75" fmla="*/ 123825 w 2581275"/>
              <a:gd name="connsiteY75" fmla="*/ 1076325 h 1690688"/>
              <a:gd name="connsiteX76" fmla="*/ 190500 w 2581275"/>
              <a:gd name="connsiteY76" fmla="*/ 1033463 h 1690688"/>
              <a:gd name="connsiteX77" fmla="*/ 223837 w 2581275"/>
              <a:gd name="connsiteY77" fmla="*/ 1038225 h 1690688"/>
              <a:gd name="connsiteX78" fmla="*/ 209550 w 2581275"/>
              <a:gd name="connsiteY78" fmla="*/ 1162050 h 1690688"/>
              <a:gd name="connsiteX79" fmla="*/ 280987 w 2581275"/>
              <a:gd name="connsiteY79" fmla="*/ 1152525 h 1690688"/>
              <a:gd name="connsiteX80" fmla="*/ 328612 w 2581275"/>
              <a:gd name="connsiteY80" fmla="*/ 1195388 h 1690688"/>
              <a:gd name="connsiteX81" fmla="*/ 209550 w 2581275"/>
              <a:gd name="connsiteY81" fmla="*/ 1319213 h 1690688"/>
              <a:gd name="connsiteX82" fmla="*/ 147637 w 2581275"/>
              <a:gd name="connsiteY82" fmla="*/ 1533525 h 1690688"/>
              <a:gd name="connsiteX83" fmla="*/ 180975 w 2581275"/>
              <a:gd name="connsiteY83" fmla="*/ 1604963 h 1690688"/>
              <a:gd name="connsiteX84" fmla="*/ 304800 w 2581275"/>
              <a:gd name="connsiteY84" fmla="*/ 1552575 h 1690688"/>
              <a:gd name="connsiteX85" fmla="*/ 381000 w 2581275"/>
              <a:gd name="connsiteY85" fmla="*/ 1585913 h 1690688"/>
              <a:gd name="connsiteX86" fmla="*/ 590550 w 2581275"/>
              <a:gd name="connsiteY86" fmla="*/ 1471613 h 1690688"/>
              <a:gd name="connsiteX87" fmla="*/ 762000 w 2581275"/>
              <a:gd name="connsiteY87" fmla="*/ 1409700 h 1690688"/>
              <a:gd name="connsiteX88" fmla="*/ 919162 w 2581275"/>
              <a:gd name="connsiteY88" fmla="*/ 1414463 h 1690688"/>
              <a:gd name="connsiteX89" fmla="*/ 1071562 w 2581275"/>
              <a:gd name="connsiteY89" fmla="*/ 1371600 h 1690688"/>
              <a:gd name="connsiteX0" fmla="*/ 1071562 w 2581275"/>
              <a:gd name="connsiteY0" fmla="*/ 1371600 h 1690688"/>
              <a:gd name="connsiteX1" fmla="*/ 1143000 w 2581275"/>
              <a:gd name="connsiteY1" fmla="*/ 1328738 h 1690688"/>
              <a:gd name="connsiteX2" fmla="*/ 1209675 w 2581275"/>
              <a:gd name="connsiteY2" fmla="*/ 1352550 h 1690688"/>
              <a:gd name="connsiteX3" fmla="*/ 1271587 w 2581275"/>
              <a:gd name="connsiteY3" fmla="*/ 1319213 h 1690688"/>
              <a:gd name="connsiteX4" fmla="*/ 1371600 w 2581275"/>
              <a:gd name="connsiteY4" fmla="*/ 1357313 h 1690688"/>
              <a:gd name="connsiteX5" fmla="*/ 1481137 w 2581275"/>
              <a:gd name="connsiteY5" fmla="*/ 1295400 h 1690688"/>
              <a:gd name="connsiteX6" fmla="*/ 1533525 w 2581275"/>
              <a:gd name="connsiteY6" fmla="*/ 1419225 h 1690688"/>
              <a:gd name="connsiteX7" fmla="*/ 1690687 w 2581275"/>
              <a:gd name="connsiteY7" fmla="*/ 1376363 h 1690688"/>
              <a:gd name="connsiteX8" fmla="*/ 1714500 w 2581275"/>
              <a:gd name="connsiteY8" fmla="*/ 1423988 h 1690688"/>
              <a:gd name="connsiteX9" fmla="*/ 1828800 w 2581275"/>
              <a:gd name="connsiteY9" fmla="*/ 1395413 h 1690688"/>
              <a:gd name="connsiteX10" fmla="*/ 1890712 w 2581275"/>
              <a:gd name="connsiteY10" fmla="*/ 1614488 h 1690688"/>
              <a:gd name="connsiteX11" fmla="*/ 2028825 w 2581275"/>
              <a:gd name="connsiteY11" fmla="*/ 1614488 h 1690688"/>
              <a:gd name="connsiteX12" fmla="*/ 2147887 w 2581275"/>
              <a:gd name="connsiteY12" fmla="*/ 1528763 h 1690688"/>
              <a:gd name="connsiteX13" fmla="*/ 2290762 w 2581275"/>
              <a:gd name="connsiteY13" fmla="*/ 1690688 h 1690688"/>
              <a:gd name="connsiteX14" fmla="*/ 2357437 w 2581275"/>
              <a:gd name="connsiteY14" fmla="*/ 1671638 h 1690688"/>
              <a:gd name="connsiteX15" fmla="*/ 2300287 w 2581275"/>
              <a:gd name="connsiteY15" fmla="*/ 1562100 h 1690688"/>
              <a:gd name="connsiteX16" fmla="*/ 2319337 w 2581275"/>
              <a:gd name="connsiteY16" fmla="*/ 1509713 h 1690688"/>
              <a:gd name="connsiteX17" fmla="*/ 2314575 w 2581275"/>
              <a:gd name="connsiteY17" fmla="*/ 1462088 h 1690688"/>
              <a:gd name="connsiteX18" fmla="*/ 2257425 w 2581275"/>
              <a:gd name="connsiteY18" fmla="*/ 1447800 h 1690688"/>
              <a:gd name="connsiteX19" fmla="*/ 2276475 w 2581275"/>
              <a:gd name="connsiteY19" fmla="*/ 1281113 h 1690688"/>
              <a:gd name="connsiteX20" fmla="*/ 2405062 w 2581275"/>
              <a:gd name="connsiteY20" fmla="*/ 1209675 h 1690688"/>
              <a:gd name="connsiteX21" fmla="*/ 2466975 w 2581275"/>
              <a:gd name="connsiteY21" fmla="*/ 1343025 h 1690688"/>
              <a:gd name="connsiteX22" fmla="*/ 2547937 w 2581275"/>
              <a:gd name="connsiteY22" fmla="*/ 1338263 h 1690688"/>
              <a:gd name="connsiteX23" fmla="*/ 2581275 w 2581275"/>
              <a:gd name="connsiteY23" fmla="*/ 1252538 h 1690688"/>
              <a:gd name="connsiteX24" fmla="*/ 2524125 w 2581275"/>
              <a:gd name="connsiteY24" fmla="*/ 1247775 h 1690688"/>
              <a:gd name="connsiteX25" fmla="*/ 2490787 w 2581275"/>
              <a:gd name="connsiteY25" fmla="*/ 1181100 h 1690688"/>
              <a:gd name="connsiteX26" fmla="*/ 2557462 w 2581275"/>
              <a:gd name="connsiteY26" fmla="*/ 904875 h 1690688"/>
              <a:gd name="connsiteX27" fmla="*/ 2495550 w 2581275"/>
              <a:gd name="connsiteY27" fmla="*/ 823913 h 1690688"/>
              <a:gd name="connsiteX28" fmla="*/ 2343150 w 2581275"/>
              <a:gd name="connsiteY28" fmla="*/ 990600 h 1690688"/>
              <a:gd name="connsiteX29" fmla="*/ 2114550 w 2581275"/>
              <a:gd name="connsiteY29" fmla="*/ 923925 h 1690688"/>
              <a:gd name="connsiteX30" fmla="*/ 2114550 w 2581275"/>
              <a:gd name="connsiteY30" fmla="*/ 862013 h 1690688"/>
              <a:gd name="connsiteX31" fmla="*/ 1928812 w 2581275"/>
              <a:gd name="connsiteY31" fmla="*/ 781050 h 1690688"/>
              <a:gd name="connsiteX32" fmla="*/ 1814512 w 2581275"/>
              <a:gd name="connsiteY32" fmla="*/ 781050 h 1690688"/>
              <a:gd name="connsiteX33" fmla="*/ 1819275 w 2581275"/>
              <a:gd name="connsiteY33" fmla="*/ 747713 h 1690688"/>
              <a:gd name="connsiteX34" fmla="*/ 1857375 w 2581275"/>
              <a:gd name="connsiteY34" fmla="*/ 738188 h 1690688"/>
              <a:gd name="connsiteX35" fmla="*/ 1819275 w 2581275"/>
              <a:gd name="connsiteY35" fmla="*/ 623888 h 1690688"/>
              <a:gd name="connsiteX36" fmla="*/ 1919287 w 2581275"/>
              <a:gd name="connsiteY36" fmla="*/ 423863 h 1690688"/>
              <a:gd name="connsiteX37" fmla="*/ 1919287 w 2581275"/>
              <a:gd name="connsiteY37" fmla="*/ 333375 h 1690688"/>
              <a:gd name="connsiteX38" fmla="*/ 1866900 w 2581275"/>
              <a:gd name="connsiteY38" fmla="*/ 300038 h 1690688"/>
              <a:gd name="connsiteX39" fmla="*/ 1838325 w 2581275"/>
              <a:gd name="connsiteY39" fmla="*/ 323850 h 1690688"/>
              <a:gd name="connsiteX40" fmla="*/ 1719262 w 2581275"/>
              <a:gd name="connsiteY40" fmla="*/ 228600 h 1690688"/>
              <a:gd name="connsiteX41" fmla="*/ 1728787 w 2581275"/>
              <a:gd name="connsiteY41" fmla="*/ 209550 h 1690688"/>
              <a:gd name="connsiteX42" fmla="*/ 1652587 w 2581275"/>
              <a:gd name="connsiteY42" fmla="*/ 180975 h 1690688"/>
              <a:gd name="connsiteX43" fmla="*/ 1624012 w 2581275"/>
              <a:gd name="connsiteY43" fmla="*/ 157163 h 1690688"/>
              <a:gd name="connsiteX44" fmla="*/ 1419225 w 2581275"/>
              <a:gd name="connsiteY44" fmla="*/ 119063 h 1690688"/>
              <a:gd name="connsiteX45" fmla="*/ 1381125 w 2581275"/>
              <a:gd name="connsiteY45" fmla="*/ 142875 h 1690688"/>
              <a:gd name="connsiteX46" fmla="*/ 1333500 w 2581275"/>
              <a:gd name="connsiteY46" fmla="*/ 47625 h 1690688"/>
              <a:gd name="connsiteX47" fmla="*/ 1304925 w 2581275"/>
              <a:gd name="connsiteY47" fmla="*/ 42863 h 1690688"/>
              <a:gd name="connsiteX48" fmla="*/ 1300162 w 2581275"/>
              <a:gd name="connsiteY48" fmla="*/ 109538 h 1690688"/>
              <a:gd name="connsiteX49" fmla="*/ 1243012 w 2581275"/>
              <a:gd name="connsiteY49" fmla="*/ 100013 h 1690688"/>
              <a:gd name="connsiteX50" fmla="*/ 1176337 w 2581275"/>
              <a:gd name="connsiteY50" fmla="*/ 0 h 1690688"/>
              <a:gd name="connsiteX51" fmla="*/ 1062037 w 2581275"/>
              <a:gd name="connsiteY51" fmla="*/ 19050 h 1690688"/>
              <a:gd name="connsiteX52" fmla="*/ 1023937 w 2581275"/>
              <a:gd name="connsiteY52" fmla="*/ 90488 h 1690688"/>
              <a:gd name="connsiteX53" fmla="*/ 1076325 w 2581275"/>
              <a:gd name="connsiteY53" fmla="*/ 128588 h 1690688"/>
              <a:gd name="connsiteX54" fmla="*/ 1176337 w 2581275"/>
              <a:gd name="connsiteY54" fmla="*/ 104775 h 1690688"/>
              <a:gd name="connsiteX55" fmla="*/ 1200150 w 2581275"/>
              <a:gd name="connsiteY55" fmla="*/ 152400 h 1690688"/>
              <a:gd name="connsiteX56" fmla="*/ 1062037 w 2581275"/>
              <a:gd name="connsiteY56" fmla="*/ 223838 h 1690688"/>
              <a:gd name="connsiteX57" fmla="*/ 915331 w 2581275"/>
              <a:gd name="connsiteY57" fmla="*/ 143457 h 1690688"/>
              <a:gd name="connsiteX58" fmla="*/ 933450 w 2581275"/>
              <a:gd name="connsiteY58" fmla="*/ 185738 h 1690688"/>
              <a:gd name="connsiteX59" fmla="*/ 666750 w 2581275"/>
              <a:gd name="connsiteY59" fmla="*/ 266700 h 1690688"/>
              <a:gd name="connsiteX60" fmla="*/ 633412 w 2581275"/>
              <a:gd name="connsiteY60" fmla="*/ 228600 h 1690688"/>
              <a:gd name="connsiteX61" fmla="*/ 490537 w 2581275"/>
              <a:gd name="connsiteY61" fmla="*/ 276225 h 1690688"/>
              <a:gd name="connsiteX62" fmla="*/ 433387 w 2581275"/>
              <a:gd name="connsiteY62" fmla="*/ 228600 h 1690688"/>
              <a:gd name="connsiteX63" fmla="*/ 342900 w 2581275"/>
              <a:gd name="connsiteY63" fmla="*/ 261938 h 1690688"/>
              <a:gd name="connsiteX64" fmla="*/ 361950 w 2581275"/>
              <a:gd name="connsiteY64" fmla="*/ 319088 h 1690688"/>
              <a:gd name="connsiteX65" fmla="*/ 290512 w 2581275"/>
              <a:gd name="connsiteY65" fmla="*/ 404813 h 1690688"/>
              <a:gd name="connsiteX66" fmla="*/ 381000 w 2581275"/>
              <a:gd name="connsiteY66" fmla="*/ 490538 h 1690688"/>
              <a:gd name="connsiteX67" fmla="*/ 347662 w 2581275"/>
              <a:gd name="connsiteY67" fmla="*/ 571500 h 1690688"/>
              <a:gd name="connsiteX68" fmla="*/ 352425 w 2581275"/>
              <a:gd name="connsiteY68" fmla="*/ 657225 h 1690688"/>
              <a:gd name="connsiteX69" fmla="*/ 190500 w 2581275"/>
              <a:gd name="connsiteY69" fmla="*/ 723900 h 1690688"/>
              <a:gd name="connsiteX70" fmla="*/ 138112 w 2581275"/>
              <a:gd name="connsiteY70" fmla="*/ 838200 h 1690688"/>
              <a:gd name="connsiteX71" fmla="*/ 90487 w 2581275"/>
              <a:gd name="connsiteY71" fmla="*/ 814388 h 1690688"/>
              <a:gd name="connsiteX72" fmla="*/ 0 w 2581275"/>
              <a:gd name="connsiteY72" fmla="*/ 857250 h 1690688"/>
              <a:gd name="connsiteX73" fmla="*/ 100012 w 2581275"/>
              <a:gd name="connsiteY73" fmla="*/ 947738 h 1690688"/>
              <a:gd name="connsiteX74" fmla="*/ 90487 w 2581275"/>
              <a:gd name="connsiteY74" fmla="*/ 1047750 h 1690688"/>
              <a:gd name="connsiteX75" fmla="*/ 123825 w 2581275"/>
              <a:gd name="connsiteY75" fmla="*/ 1076325 h 1690688"/>
              <a:gd name="connsiteX76" fmla="*/ 190500 w 2581275"/>
              <a:gd name="connsiteY76" fmla="*/ 1033463 h 1690688"/>
              <a:gd name="connsiteX77" fmla="*/ 223837 w 2581275"/>
              <a:gd name="connsiteY77" fmla="*/ 1038225 h 1690688"/>
              <a:gd name="connsiteX78" fmla="*/ 209550 w 2581275"/>
              <a:gd name="connsiteY78" fmla="*/ 1162050 h 1690688"/>
              <a:gd name="connsiteX79" fmla="*/ 280987 w 2581275"/>
              <a:gd name="connsiteY79" fmla="*/ 1152525 h 1690688"/>
              <a:gd name="connsiteX80" fmla="*/ 328612 w 2581275"/>
              <a:gd name="connsiteY80" fmla="*/ 1195388 h 1690688"/>
              <a:gd name="connsiteX81" fmla="*/ 209550 w 2581275"/>
              <a:gd name="connsiteY81" fmla="*/ 1319213 h 1690688"/>
              <a:gd name="connsiteX82" fmla="*/ 147637 w 2581275"/>
              <a:gd name="connsiteY82" fmla="*/ 1533525 h 1690688"/>
              <a:gd name="connsiteX83" fmla="*/ 180975 w 2581275"/>
              <a:gd name="connsiteY83" fmla="*/ 1604963 h 1690688"/>
              <a:gd name="connsiteX84" fmla="*/ 304800 w 2581275"/>
              <a:gd name="connsiteY84" fmla="*/ 1552575 h 1690688"/>
              <a:gd name="connsiteX85" fmla="*/ 381000 w 2581275"/>
              <a:gd name="connsiteY85" fmla="*/ 1585913 h 1690688"/>
              <a:gd name="connsiteX86" fmla="*/ 590550 w 2581275"/>
              <a:gd name="connsiteY86" fmla="*/ 1471613 h 1690688"/>
              <a:gd name="connsiteX87" fmla="*/ 762000 w 2581275"/>
              <a:gd name="connsiteY87" fmla="*/ 1409700 h 1690688"/>
              <a:gd name="connsiteX88" fmla="*/ 919162 w 2581275"/>
              <a:gd name="connsiteY88" fmla="*/ 1414463 h 1690688"/>
              <a:gd name="connsiteX89" fmla="*/ 1071562 w 2581275"/>
              <a:gd name="connsiteY89" fmla="*/ 1371600 h 1690688"/>
              <a:gd name="connsiteX0" fmla="*/ 1071562 w 2581275"/>
              <a:gd name="connsiteY0" fmla="*/ 1371600 h 1690688"/>
              <a:gd name="connsiteX1" fmla="*/ 1143000 w 2581275"/>
              <a:gd name="connsiteY1" fmla="*/ 1328738 h 1690688"/>
              <a:gd name="connsiteX2" fmla="*/ 1209675 w 2581275"/>
              <a:gd name="connsiteY2" fmla="*/ 1352550 h 1690688"/>
              <a:gd name="connsiteX3" fmla="*/ 1271587 w 2581275"/>
              <a:gd name="connsiteY3" fmla="*/ 1319213 h 1690688"/>
              <a:gd name="connsiteX4" fmla="*/ 1371600 w 2581275"/>
              <a:gd name="connsiteY4" fmla="*/ 1357313 h 1690688"/>
              <a:gd name="connsiteX5" fmla="*/ 1481137 w 2581275"/>
              <a:gd name="connsiteY5" fmla="*/ 1295400 h 1690688"/>
              <a:gd name="connsiteX6" fmla="*/ 1533525 w 2581275"/>
              <a:gd name="connsiteY6" fmla="*/ 1419225 h 1690688"/>
              <a:gd name="connsiteX7" fmla="*/ 1690687 w 2581275"/>
              <a:gd name="connsiteY7" fmla="*/ 1376363 h 1690688"/>
              <a:gd name="connsiteX8" fmla="*/ 1714500 w 2581275"/>
              <a:gd name="connsiteY8" fmla="*/ 1423988 h 1690688"/>
              <a:gd name="connsiteX9" fmla="*/ 1828800 w 2581275"/>
              <a:gd name="connsiteY9" fmla="*/ 1395413 h 1690688"/>
              <a:gd name="connsiteX10" fmla="*/ 1890712 w 2581275"/>
              <a:gd name="connsiteY10" fmla="*/ 1614488 h 1690688"/>
              <a:gd name="connsiteX11" fmla="*/ 2028825 w 2581275"/>
              <a:gd name="connsiteY11" fmla="*/ 1614488 h 1690688"/>
              <a:gd name="connsiteX12" fmla="*/ 2147887 w 2581275"/>
              <a:gd name="connsiteY12" fmla="*/ 1528763 h 1690688"/>
              <a:gd name="connsiteX13" fmla="*/ 2290762 w 2581275"/>
              <a:gd name="connsiteY13" fmla="*/ 1690688 h 1690688"/>
              <a:gd name="connsiteX14" fmla="*/ 2357437 w 2581275"/>
              <a:gd name="connsiteY14" fmla="*/ 1671638 h 1690688"/>
              <a:gd name="connsiteX15" fmla="*/ 2300287 w 2581275"/>
              <a:gd name="connsiteY15" fmla="*/ 1562100 h 1690688"/>
              <a:gd name="connsiteX16" fmla="*/ 2319337 w 2581275"/>
              <a:gd name="connsiteY16" fmla="*/ 1509713 h 1690688"/>
              <a:gd name="connsiteX17" fmla="*/ 2314575 w 2581275"/>
              <a:gd name="connsiteY17" fmla="*/ 1462088 h 1690688"/>
              <a:gd name="connsiteX18" fmla="*/ 2257425 w 2581275"/>
              <a:gd name="connsiteY18" fmla="*/ 1447800 h 1690688"/>
              <a:gd name="connsiteX19" fmla="*/ 2276475 w 2581275"/>
              <a:gd name="connsiteY19" fmla="*/ 1281113 h 1690688"/>
              <a:gd name="connsiteX20" fmla="*/ 2405062 w 2581275"/>
              <a:gd name="connsiteY20" fmla="*/ 1209675 h 1690688"/>
              <a:gd name="connsiteX21" fmla="*/ 2466975 w 2581275"/>
              <a:gd name="connsiteY21" fmla="*/ 1343025 h 1690688"/>
              <a:gd name="connsiteX22" fmla="*/ 2547937 w 2581275"/>
              <a:gd name="connsiteY22" fmla="*/ 1338263 h 1690688"/>
              <a:gd name="connsiteX23" fmla="*/ 2581275 w 2581275"/>
              <a:gd name="connsiteY23" fmla="*/ 1252538 h 1690688"/>
              <a:gd name="connsiteX24" fmla="*/ 2524125 w 2581275"/>
              <a:gd name="connsiteY24" fmla="*/ 1247775 h 1690688"/>
              <a:gd name="connsiteX25" fmla="*/ 2490787 w 2581275"/>
              <a:gd name="connsiteY25" fmla="*/ 1181100 h 1690688"/>
              <a:gd name="connsiteX26" fmla="*/ 2557462 w 2581275"/>
              <a:gd name="connsiteY26" fmla="*/ 904875 h 1690688"/>
              <a:gd name="connsiteX27" fmla="*/ 2495550 w 2581275"/>
              <a:gd name="connsiteY27" fmla="*/ 823913 h 1690688"/>
              <a:gd name="connsiteX28" fmla="*/ 2343150 w 2581275"/>
              <a:gd name="connsiteY28" fmla="*/ 990600 h 1690688"/>
              <a:gd name="connsiteX29" fmla="*/ 2114550 w 2581275"/>
              <a:gd name="connsiteY29" fmla="*/ 923925 h 1690688"/>
              <a:gd name="connsiteX30" fmla="*/ 2114550 w 2581275"/>
              <a:gd name="connsiteY30" fmla="*/ 862013 h 1690688"/>
              <a:gd name="connsiteX31" fmla="*/ 1928812 w 2581275"/>
              <a:gd name="connsiteY31" fmla="*/ 781050 h 1690688"/>
              <a:gd name="connsiteX32" fmla="*/ 1814512 w 2581275"/>
              <a:gd name="connsiteY32" fmla="*/ 781050 h 1690688"/>
              <a:gd name="connsiteX33" fmla="*/ 1819275 w 2581275"/>
              <a:gd name="connsiteY33" fmla="*/ 747713 h 1690688"/>
              <a:gd name="connsiteX34" fmla="*/ 1857375 w 2581275"/>
              <a:gd name="connsiteY34" fmla="*/ 738188 h 1690688"/>
              <a:gd name="connsiteX35" fmla="*/ 1819275 w 2581275"/>
              <a:gd name="connsiteY35" fmla="*/ 623888 h 1690688"/>
              <a:gd name="connsiteX36" fmla="*/ 1919287 w 2581275"/>
              <a:gd name="connsiteY36" fmla="*/ 423863 h 1690688"/>
              <a:gd name="connsiteX37" fmla="*/ 1919287 w 2581275"/>
              <a:gd name="connsiteY37" fmla="*/ 333375 h 1690688"/>
              <a:gd name="connsiteX38" fmla="*/ 1866900 w 2581275"/>
              <a:gd name="connsiteY38" fmla="*/ 300038 h 1690688"/>
              <a:gd name="connsiteX39" fmla="*/ 1838325 w 2581275"/>
              <a:gd name="connsiteY39" fmla="*/ 323850 h 1690688"/>
              <a:gd name="connsiteX40" fmla="*/ 1719262 w 2581275"/>
              <a:gd name="connsiteY40" fmla="*/ 228600 h 1690688"/>
              <a:gd name="connsiteX41" fmla="*/ 1728787 w 2581275"/>
              <a:gd name="connsiteY41" fmla="*/ 209550 h 1690688"/>
              <a:gd name="connsiteX42" fmla="*/ 1652587 w 2581275"/>
              <a:gd name="connsiteY42" fmla="*/ 180975 h 1690688"/>
              <a:gd name="connsiteX43" fmla="*/ 1624012 w 2581275"/>
              <a:gd name="connsiteY43" fmla="*/ 157163 h 1690688"/>
              <a:gd name="connsiteX44" fmla="*/ 1419225 w 2581275"/>
              <a:gd name="connsiteY44" fmla="*/ 119063 h 1690688"/>
              <a:gd name="connsiteX45" fmla="*/ 1381125 w 2581275"/>
              <a:gd name="connsiteY45" fmla="*/ 142875 h 1690688"/>
              <a:gd name="connsiteX46" fmla="*/ 1333500 w 2581275"/>
              <a:gd name="connsiteY46" fmla="*/ 47625 h 1690688"/>
              <a:gd name="connsiteX47" fmla="*/ 1304925 w 2581275"/>
              <a:gd name="connsiteY47" fmla="*/ 42863 h 1690688"/>
              <a:gd name="connsiteX48" fmla="*/ 1300162 w 2581275"/>
              <a:gd name="connsiteY48" fmla="*/ 109538 h 1690688"/>
              <a:gd name="connsiteX49" fmla="*/ 1243012 w 2581275"/>
              <a:gd name="connsiteY49" fmla="*/ 100013 h 1690688"/>
              <a:gd name="connsiteX50" fmla="*/ 1176337 w 2581275"/>
              <a:gd name="connsiteY50" fmla="*/ 0 h 1690688"/>
              <a:gd name="connsiteX51" fmla="*/ 1062037 w 2581275"/>
              <a:gd name="connsiteY51" fmla="*/ 19050 h 1690688"/>
              <a:gd name="connsiteX52" fmla="*/ 1023937 w 2581275"/>
              <a:gd name="connsiteY52" fmla="*/ 90488 h 1690688"/>
              <a:gd name="connsiteX53" fmla="*/ 1076325 w 2581275"/>
              <a:gd name="connsiteY53" fmla="*/ 128588 h 1690688"/>
              <a:gd name="connsiteX54" fmla="*/ 1176337 w 2581275"/>
              <a:gd name="connsiteY54" fmla="*/ 104775 h 1690688"/>
              <a:gd name="connsiteX55" fmla="*/ 1200150 w 2581275"/>
              <a:gd name="connsiteY55" fmla="*/ 152400 h 1690688"/>
              <a:gd name="connsiteX56" fmla="*/ 1062037 w 2581275"/>
              <a:gd name="connsiteY56" fmla="*/ 223838 h 1690688"/>
              <a:gd name="connsiteX57" fmla="*/ 915331 w 2581275"/>
              <a:gd name="connsiteY57" fmla="*/ 143457 h 1690688"/>
              <a:gd name="connsiteX58" fmla="*/ 809073 w 2581275"/>
              <a:gd name="connsiteY58" fmla="*/ 147206 h 1690688"/>
              <a:gd name="connsiteX59" fmla="*/ 666750 w 2581275"/>
              <a:gd name="connsiteY59" fmla="*/ 266700 h 1690688"/>
              <a:gd name="connsiteX60" fmla="*/ 633412 w 2581275"/>
              <a:gd name="connsiteY60" fmla="*/ 228600 h 1690688"/>
              <a:gd name="connsiteX61" fmla="*/ 490537 w 2581275"/>
              <a:gd name="connsiteY61" fmla="*/ 276225 h 1690688"/>
              <a:gd name="connsiteX62" fmla="*/ 433387 w 2581275"/>
              <a:gd name="connsiteY62" fmla="*/ 228600 h 1690688"/>
              <a:gd name="connsiteX63" fmla="*/ 342900 w 2581275"/>
              <a:gd name="connsiteY63" fmla="*/ 261938 h 1690688"/>
              <a:gd name="connsiteX64" fmla="*/ 361950 w 2581275"/>
              <a:gd name="connsiteY64" fmla="*/ 319088 h 1690688"/>
              <a:gd name="connsiteX65" fmla="*/ 290512 w 2581275"/>
              <a:gd name="connsiteY65" fmla="*/ 404813 h 1690688"/>
              <a:gd name="connsiteX66" fmla="*/ 381000 w 2581275"/>
              <a:gd name="connsiteY66" fmla="*/ 490538 h 1690688"/>
              <a:gd name="connsiteX67" fmla="*/ 347662 w 2581275"/>
              <a:gd name="connsiteY67" fmla="*/ 571500 h 1690688"/>
              <a:gd name="connsiteX68" fmla="*/ 352425 w 2581275"/>
              <a:gd name="connsiteY68" fmla="*/ 657225 h 1690688"/>
              <a:gd name="connsiteX69" fmla="*/ 190500 w 2581275"/>
              <a:gd name="connsiteY69" fmla="*/ 723900 h 1690688"/>
              <a:gd name="connsiteX70" fmla="*/ 138112 w 2581275"/>
              <a:gd name="connsiteY70" fmla="*/ 838200 h 1690688"/>
              <a:gd name="connsiteX71" fmla="*/ 90487 w 2581275"/>
              <a:gd name="connsiteY71" fmla="*/ 814388 h 1690688"/>
              <a:gd name="connsiteX72" fmla="*/ 0 w 2581275"/>
              <a:gd name="connsiteY72" fmla="*/ 857250 h 1690688"/>
              <a:gd name="connsiteX73" fmla="*/ 100012 w 2581275"/>
              <a:gd name="connsiteY73" fmla="*/ 947738 h 1690688"/>
              <a:gd name="connsiteX74" fmla="*/ 90487 w 2581275"/>
              <a:gd name="connsiteY74" fmla="*/ 1047750 h 1690688"/>
              <a:gd name="connsiteX75" fmla="*/ 123825 w 2581275"/>
              <a:gd name="connsiteY75" fmla="*/ 1076325 h 1690688"/>
              <a:gd name="connsiteX76" fmla="*/ 190500 w 2581275"/>
              <a:gd name="connsiteY76" fmla="*/ 1033463 h 1690688"/>
              <a:gd name="connsiteX77" fmla="*/ 223837 w 2581275"/>
              <a:gd name="connsiteY77" fmla="*/ 1038225 h 1690688"/>
              <a:gd name="connsiteX78" fmla="*/ 209550 w 2581275"/>
              <a:gd name="connsiteY78" fmla="*/ 1162050 h 1690688"/>
              <a:gd name="connsiteX79" fmla="*/ 280987 w 2581275"/>
              <a:gd name="connsiteY79" fmla="*/ 1152525 h 1690688"/>
              <a:gd name="connsiteX80" fmla="*/ 328612 w 2581275"/>
              <a:gd name="connsiteY80" fmla="*/ 1195388 h 1690688"/>
              <a:gd name="connsiteX81" fmla="*/ 209550 w 2581275"/>
              <a:gd name="connsiteY81" fmla="*/ 1319213 h 1690688"/>
              <a:gd name="connsiteX82" fmla="*/ 147637 w 2581275"/>
              <a:gd name="connsiteY82" fmla="*/ 1533525 h 1690688"/>
              <a:gd name="connsiteX83" fmla="*/ 180975 w 2581275"/>
              <a:gd name="connsiteY83" fmla="*/ 1604963 h 1690688"/>
              <a:gd name="connsiteX84" fmla="*/ 304800 w 2581275"/>
              <a:gd name="connsiteY84" fmla="*/ 1552575 h 1690688"/>
              <a:gd name="connsiteX85" fmla="*/ 381000 w 2581275"/>
              <a:gd name="connsiteY85" fmla="*/ 1585913 h 1690688"/>
              <a:gd name="connsiteX86" fmla="*/ 590550 w 2581275"/>
              <a:gd name="connsiteY86" fmla="*/ 1471613 h 1690688"/>
              <a:gd name="connsiteX87" fmla="*/ 762000 w 2581275"/>
              <a:gd name="connsiteY87" fmla="*/ 1409700 h 1690688"/>
              <a:gd name="connsiteX88" fmla="*/ 919162 w 2581275"/>
              <a:gd name="connsiteY88" fmla="*/ 1414463 h 1690688"/>
              <a:gd name="connsiteX89" fmla="*/ 1071562 w 2581275"/>
              <a:gd name="connsiteY89" fmla="*/ 1371600 h 1690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</a:cxnLst>
            <a:rect l="l" t="t" r="r" b="b"/>
            <a:pathLst>
              <a:path w="2581275" h="1690688">
                <a:moveTo>
                  <a:pt x="1071562" y="1371600"/>
                </a:moveTo>
                <a:lnTo>
                  <a:pt x="1143000" y="1328738"/>
                </a:lnTo>
                <a:lnTo>
                  <a:pt x="1209675" y="1352550"/>
                </a:lnTo>
                <a:lnTo>
                  <a:pt x="1271587" y="1319213"/>
                </a:lnTo>
                <a:lnTo>
                  <a:pt x="1371600" y="1357313"/>
                </a:lnTo>
                <a:lnTo>
                  <a:pt x="1481137" y="1295400"/>
                </a:lnTo>
                <a:lnTo>
                  <a:pt x="1533525" y="1419225"/>
                </a:lnTo>
                <a:lnTo>
                  <a:pt x="1690687" y="1376363"/>
                </a:lnTo>
                <a:lnTo>
                  <a:pt x="1714500" y="1423988"/>
                </a:lnTo>
                <a:lnTo>
                  <a:pt x="1828800" y="1395413"/>
                </a:lnTo>
                <a:lnTo>
                  <a:pt x="1890712" y="1614488"/>
                </a:lnTo>
                <a:lnTo>
                  <a:pt x="2028825" y="1614488"/>
                </a:lnTo>
                <a:lnTo>
                  <a:pt x="2147887" y="1528763"/>
                </a:lnTo>
                <a:lnTo>
                  <a:pt x="2290762" y="1690688"/>
                </a:lnTo>
                <a:lnTo>
                  <a:pt x="2357437" y="1671638"/>
                </a:lnTo>
                <a:lnTo>
                  <a:pt x="2300287" y="1562100"/>
                </a:lnTo>
                <a:lnTo>
                  <a:pt x="2319337" y="1509713"/>
                </a:lnTo>
                <a:lnTo>
                  <a:pt x="2314575" y="1462088"/>
                </a:lnTo>
                <a:lnTo>
                  <a:pt x="2257425" y="1447800"/>
                </a:lnTo>
                <a:lnTo>
                  <a:pt x="2276475" y="1281113"/>
                </a:lnTo>
                <a:lnTo>
                  <a:pt x="2405062" y="1209675"/>
                </a:lnTo>
                <a:lnTo>
                  <a:pt x="2466975" y="1343025"/>
                </a:lnTo>
                <a:lnTo>
                  <a:pt x="2547937" y="1338263"/>
                </a:lnTo>
                <a:lnTo>
                  <a:pt x="2581275" y="1252538"/>
                </a:lnTo>
                <a:lnTo>
                  <a:pt x="2524125" y="1247775"/>
                </a:lnTo>
                <a:lnTo>
                  <a:pt x="2490787" y="1181100"/>
                </a:lnTo>
                <a:lnTo>
                  <a:pt x="2557462" y="904875"/>
                </a:lnTo>
                <a:lnTo>
                  <a:pt x="2495550" y="823913"/>
                </a:lnTo>
                <a:lnTo>
                  <a:pt x="2343150" y="990600"/>
                </a:lnTo>
                <a:lnTo>
                  <a:pt x="2114550" y="923925"/>
                </a:lnTo>
                <a:lnTo>
                  <a:pt x="2114550" y="862013"/>
                </a:lnTo>
                <a:lnTo>
                  <a:pt x="1928812" y="781050"/>
                </a:lnTo>
                <a:lnTo>
                  <a:pt x="1814512" y="781050"/>
                </a:lnTo>
                <a:lnTo>
                  <a:pt x="1819275" y="747713"/>
                </a:lnTo>
                <a:lnTo>
                  <a:pt x="1857375" y="738188"/>
                </a:lnTo>
                <a:lnTo>
                  <a:pt x="1819275" y="623888"/>
                </a:lnTo>
                <a:lnTo>
                  <a:pt x="1919287" y="423863"/>
                </a:lnTo>
                <a:lnTo>
                  <a:pt x="1919287" y="333375"/>
                </a:lnTo>
                <a:lnTo>
                  <a:pt x="1866900" y="300038"/>
                </a:lnTo>
                <a:lnTo>
                  <a:pt x="1838325" y="323850"/>
                </a:lnTo>
                <a:lnTo>
                  <a:pt x="1719262" y="228600"/>
                </a:lnTo>
                <a:lnTo>
                  <a:pt x="1728787" y="209550"/>
                </a:lnTo>
                <a:lnTo>
                  <a:pt x="1652587" y="180975"/>
                </a:lnTo>
                <a:lnTo>
                  <a:pt x="1624012" y="157163"/>
                </a:lnTo>
                <a:lnTo>
                  <a:pt x="1419225" y="119063"/>
                </a:lnTo>
                <a:lnTo>
                  <a:pt x="1381125" y="142875"/>
                </a:lnTo>
                <a:lnTo>
                  <a:pt x="1333500" y="47625"/>
                </a:lnTo>
                <a:lnTo>
                  <a:pt x="1304925" y="42863"/>
                </a:lnTo>
                <a:lnTo>
                  <a:pt x="1300162" y="109538"/>
                </a:lnTo>
                <a:lnTo>
                  <a:pt x="1243012" y="100013"/>
                </a:lnTo>
                <a:lnTo>
                  <a:pt x="1176337" y="0"/>
                </a:lnTo>
                <a:lnTo>
                  <a:pt x="1062037" y="19050"/>
                </a:lnTo>
                <a:lnTo>
                  <a:pt x="1023937" y="90488"/>
                </a:lnTo>
                <a:lnTo>
                  <a:pt x="1076325" y="128588"/>
                </a:lnTo>
                <a:lnTo>
                  <a:pt x="1176337" y="104775"/>
                </a:lnTo>
                <a:lnTo>
                  <a:pt x="1200150" y="152400"/>
                </a:lnTo>
                <a:lnTo>
                  <a:pt x="1062037" y="223838"/>
                </a:lnTo>
                <a:lnTo>
                  <a:pt x="915331" y="143457"/>
                </a:lnTo>
                <a:lnTo>
                  <a:pt x="809073" y="147206"/>
                </a:lnTo>
                <a:lnTo>
                  <a:pt x="666750" y="266700"/>
                </a:lnTo>
                <a:lnTo>
                  <a:pt x="633412" y="228600"/>
                </a:lnTo>
                <a:lnTo>
                  <a:pt x="490537" y="276225"/>
                </a:lnTo>
                <a:lnTo>
                  <a:pt x="433387" y="228600"/>
                </a:lnTo>
                <a:lnTo>
                  <a:pt x="342900" y="261938"/>
                </a:lnTo>
                <a:lnTo>
                  <a:pt x="361950" y="319088"/>
                </a:lnTo>
                <a:lnTo>
                  <a:pt x="290512" y="404813"/>
                </a:lnTo>
                <a:lnTo>
                  <a:pt x="381000" y="490538"/>
                </a:lnTo>
                <a:lnTo>
                  <a:pt x="347662" y="571500"/>
                </a:lnTo>
                <a:lnTo>
                  <a:pt x="352425" y="657225"/>
                </a:lnTo>
                <a:lnTo>
                  <a:pt x="190500" y="723900"/>
                </a:lnTo>
                <a:lnTo>
                  <a:pt x="138112" y="838200"/>
                </a:lnTo>
                <a:lnTo>
                  <a:pt x="90487" y="814388"/>
                </a:lnTo>
                <a:lnTo>
                  <a:pt x="0" y="857250"/>
                </a:lnTo>
                <a:lnTo>
                  <a:pt x="100012" y="947738"/>
                </a:lnTo>
                <a:lnTo>
                  <a:pt x="90487" y="1047750"/>
                </a:lnTo>
                <a:lnTo>
                  <a:pt x="123825" y="1076325"/>
                </a:lnTo>
                <a:lnTo>
                  <a:pt x="190500" y="1033463"/>
                </a:lnTo>
                <a:lnTo>
                  <a:pt x="223837" y="1038225"/>
                </a:lnTo>
                <a:lnTo>
                  <a:pt x="209550" y="1162050"/>
                </a:lnTo>
                <a:lnTo>
                  <a:pt x="280987" y="1152525"/>
                </a:lnTo>
                <a:lnTo>
                  <a:pt x="328612" y="1195388"/>
                </a:lnTo>
                <a:lnTo>
                  <a:pt x="209550" y="1319213"/>
                </a:lnTo>
                <a:lnTo>
                  <a:pt x="147637" y="1533525"/>
                </a:lnTo>
                <a:lnTo>
                  <a:pt x="180975" y="1604963"/>
                </a:lnTo>
                <a:lnTo>
                  <a:pt x="304800" y="1552575"/>
                </a:lnTo>
                <a:lnTo>
                  <a:pt x="381000" y="1585913"/>
                </a:lnTo>
                <a:lnTo>
                  <a:pt x="590550" y="1471613"/>
                </a:lnTo>
                <a:lnTo>
                  <a:pt x="762000" y="1409700"/>
                </a:lnTo>
                <a:lnTo>
                  <a:pt x="919162" y="1414463"/>
                </a:lnTo>
                <a:lnTo>
                  <a:pt x="1071562" y="1371600"/>
                </a:lnTo>
                <a:close/>
              </a:path>
            </a:pathLst>
          </a:custGeom>
          <a:solidFill>
            <a:schemeClr val="bg1"/>
          </a:solidFill>
          <a:ln w="63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B04ED28-A115-43D1-96AF-FB85A2E2E4E2}"/>
              </a:ext>
            </a:extLst>
          </p:cNvPr>
          <p:cNvGrpSpPr/>
          <p:nvPr/>
        </p:nvGrpSpPr>
        <p:grpSpPr>
          <a:xfrm>
            <a:off x="4166419" y="1725758"/>
            <a:ext cx="3674013" cy="743528"/>
            <a:chOff x="4195663" y="1725758"/>
            <a:chExt cx="3674013" cy="743528"/>
          </a:xfrm>
        </p:grpSpPr>
        <p:grpSp>
          <p:nvGrpSpPr>
            <p:cNvPr id="10" name="Gruppieren 9">
              <a:extLst>
                <a:ext uri="{FF2B5EF4-FFF2-40B4-BE49-F238E27FC236}">
                  <a16:creationId xmlns:a16="http://schemas.microsoft.com/office/drawing/2014/main" id="{D118BA1D-E473-4960-9E8B-4DFC4F18E4D5}"/>
                </a:ext>
              </a:extLst>
            </p:cNvPr>
            <p:cNvGrpSpPr/>
            <p:nvPr/>
          </p:nvGrpSpPr>
          <p:grpSpPr>
            <a:xfrm>
              <a:off x="4195663" y="1725758"/>
              <a:ext cx="3674013" cy="743528"/>
              <a:chOff x="4195663" y="1725758"/>
              <a:chExt cx="3674013" cy="743528"/>
            </a:xfrm>
          </p:grpSpPr>
          <p:sp>
            <p:nvSpPr>
              <p:cNvPr id="56" name="RbLeanShape Right U-Shape 13"/>
              <p:cNvSpPr/>
              <p:nvPr/>
            </p:nvSpPr>
            <p:spPr>
              <a:xfrm rot="5400000">
                <a:off x="5866992" y="462656"/>
                <a:ext cx="331355" cy="3674013"/>
              </a:xfrm>
              <a:custGeom>
                <a:avLst/>
                <a:gdLst>
                  <a:gd name="connsiteX0" fmla="*/ 1270000 w 1270000"/>
                  <a:gd name="connsiteY0" fmla="*/ 0 h 3175000"/>
                  <a:gd name="connsiteX1" fmla="*/ 0 w 1270000"/>
                  <a:gd name="connsiteY1" fmla="*/ 0 h 3175000"/>
                  <a:gd name="connsiteX2" fmla="*/ 0 w 1270000"/>
                  <a:gd name="connsiteY2" fmla="*/ 3175000 h 3175000"/>
                  <a:gd name="connsiteX3" fmla="*/ 1270000 w 1270000"/>
                  <a:gd name="connsiteY3" fmla="*/ 3175000 h 3175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70000" h="3175000">
                    <a:moveTo>
                      <a:pt x="1270000" y="0"/>
                    </a:moveTo>
                    <a:lnTo>
                      <a:pt x="0" y="0"/>
                    </a:lnTo>
                    <a:lnTo>
                      <a:pt x="0" y="3175000"/>
                    </a:lnTo>
                    <a:lnTo>
                      <a:pt x="1270000" y="3175000"/>
                    </a:lnTo>
                  </a:path>
                </a:pathLst>
              </a:custGeom>
              <a:ln w="19050">
                <a:solidFill>
                  <a:srgbClr val="DA183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90000" tIns="90000" rIns="0" bIns="0" rtlCol="0" anchor="t"/>
              <a:lstStyle/>
              <a:p>
                <a:pPr fontAlgn="ctr"/>
                <a:endParaRPr lang="en-GB" sz="1300" b="1" dirty="0"/>
              </a:p>
            </p:txBody>
          </p:sp>
          <p:sp>
            <p:nvSpPr>
              <p:cNvPr id="64" name="Ellipse 63"/>
              <p:cNvSpPr/>
              <p:nvPr/>
            </p:nvSpPr>
            <p:spPr>
              <a:xfrm>
                <a:off x="5660905" y="1725758"/>
                <a:ext cx="743528" cy="743528"/>
              </a:xfrm>
              <a:prstGeom prst="ellipse">
                <a:avLst/>
              </a:prstGeom>
              <a:gradFill>
                <a:gsLst>
                  <a:gs pos="100000">
                    <a:srgbClr val="F5A1AF"/>
                  </a:gs>
                  <a:gs pos="35000">
                    <a:srgbClr val="DA1838"/>
                  </a:gs>
                  <a:gs pos="1000">
                    <a:srgbClr val="A2122A"/>
                  </a:gs>
                  <a:gs pos="65000">
                    <a:srgbClr val="EC526C"/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27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pic>
            <p:nvPicPr>
              <p:cNvPr id="41" name="Picture 2" descr="http://upload.wikimedia.org/wikipedia/de/f/f7/Karte_gruene_schweiz.png"/>
              <p:cNvPicPr>
                <a:picLocks noChangeAspect="1" noChangeArrowheads="1"/>
              </p:cNvPicPr>
              <p:nvPr/>
            </p:nvPicPr>
            <p:blipFill>
              <a:blip r:embed="rId12" cstate="print">
                <a:duotone>
                  <a:srgbClr val="D2D2D2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736836" y="1882054"/>
                <a:ext cx="591666" cy="427699"/>
              </a:xfrm>
              <a:prstGeom prst="rect">
                <a:avLst/>
              </a:prstGeom>
              <a:noFill/>
              <a:ln w="9525"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48" name="Forme libre 5"/>
            <p:cNvSpPr/>
            <p:nvPr/>
          </p:nvSpPr>
          <p:spPr>
            <a:xfrm>
              <a:off x="5745959" y="1947491"/>
              <a:ext cx="324921" cy="331992"/>
            </a:xfrm>
            <a:custGeom>
              <a:avLst/>
              <a:gdLst>
                <a:gd name="connsiteX0" fmla="*/ 104775 w 1838325"/>
                <a:gd name="connsiteY0" fmla="*/ 1481137 h 1771650"/>
                <a:gd name="connsiteX1" fmla="*/ 204787 w 1838325"/>
                <a:gd name="connsiteY1" fmla="*/ 1400175 h 1771650"/>
                <a:gd name="connsiteX2" fmla="*/ 171450 w 1838325"/>
                <a:gd name="connsiteY2" fmla="*/ 1362075 h 1771650"/>
                <a:gd name="connsiteX3" fmla="*/ 128587 w 1838325"/>
                <a:gd name="connsiteY3" fmla="*/ 1419225 h 1771650"/>
                <a:gd name="connsiteX4" fmla="*/ 147637 w 1838325"/>
                <a:gd name="connsiteY4" fmla="*/ 1323975 h 1771650"/>
                <a:gd name="connsiteX5" fmla="*/ 204787 w 1838325"/>
                <a:gd name="connsiteY5" fmla="*/ 1214437 h 1771650"/>
                <a:gd name="connsiteX6" fmla="*/ 338137 w 1838325"/>
                <a:gd name="connsiteY6" fmla="*/ 1143000 h 1771650"/>
                <a:gd name="connsiteX7" fmla="*/ 366712 w 1838325"/>
                <a:gd name="connsiteY7" fmla="*/ 1114425 h 1771650"/>
                <a:gd name="connsiteX8" fmla="*/ 481012 w 1838325"/>
                <a:gd name="connsiteY8" fmla="*/ 1109662 h 1771650"/>
                <a:gd name="connsiteX9" fmla="*/ 609600 w 1838325"/>
                <a:gd name="connsiteY9" fmla="*/ 1138237 h 1771650"/>
                <a:gd name="connsiteX10" fmla="*/ 704850 w 1838325"/>
                <a:gd name="connsiteY10" fmla="*/ 1209675 h 1771650"/>
                <a:gd name="connsiteX11" fmla="*/ 709612 w 1838325"/>
                <a:gd name="connsiteY11" fmla="*/ 1238250 h 1771650"/>
                <a:gd name="connsiteX12" fmla="*/ 638175 w 1838325"/>
                <a:gd name="connsiteY12" fmla="*/ 1247775 h 1771650"/>
                <a:gd name="connsiteX13" fmla="*/ 666750 w 1838325"/>
                <a:gd name="connsiteY13" fmla="*/ 1543050 h 1771650"/>
                <a:gd name="connsiteX14" fmla="*/ 871537 w 1838325"/>
                <a:gd name="connsiteY14" fmla="*/ 1771650 h 1771650"/>
                <a:gd name="connsiteX15" fmla="*/ 1190625 w 1838325"/>
                <a:gd name="connsiteY15" fmla="*/ 1662112 h 1771650"/>
                <a:gd name="connsiteX16" fmla="*/ 1414462 w 1838325"/>
                <a:gd name="connsiteY16" fmla="*/ 1733550 h 1771650"/>
                <a:gd name="connsiteX17" fmla="*/ 1609725 w 1838325"/>
                <a:gd name="connsiteY17" fmla="*/ 1485900 h 1771650"/>
                <a:gd name="connsiteX18" fmla="*/ 1571625 w 1838325"/>
                <a:gd name="connsiteY18" fmla="*/ 1362075 h 1771650"/>
                <a:gd name="connsiteX19" fmla="*/ 1795462 w 1838325"/>
                <a:gd name="connsiteY19" fmla="*/ 1138237 h 1771650"/>
                <a:gd name="connsiteX20" fmla="*/ 1838325 w 1838325"/>
                <a:gd name="connsiteY20" fmla="*/ 1057275 h 1771650"/>
                <a:gd name="connsiteX21" fmla="*/ 1824037 w 1838325"/>
                <a:gd name="connsiteY21" fmla="*/ 1023937 h 1771650"/>
                <a:gd name="connsiteX22" fmla="*/ 1709737 w 1838325"/>
                <a:gd name="connsiteY22" fmla="*/ 1085850 h 1771650"/>
                <a:gd name="connsiteX23" fmla="*/ 1543050 w 1838325"/>
                <a:gd name="connsiteY23" fmla="*/ 1090612 h 1771650"/>
                <a:gd name="connsiteX24" fmla="*/ 1423987 w 1838325"/>
                <a:gd name="connsiteY24" fmla="*/ 1143000 h 1771650"/>
                <a:gd name="connsiteX25" fmla="*/ 1366837 w 1838325"/>
                <a:gd name="connsiteY25" fmla="*/ 1157287 h 1771650"/>
                <a:gd name="connsiteX26" fmla="*/ 1162050 w 1838325"/>
                <a:gd name="connsiteY26" fmla="*/ 1271587 h 1771650"/>
                <a:gd name="connsiteX27" fmla="*/ 1076325 w 1838325"/>
                <a:gd name="connsiteY27" fmla="*/ 1228725 h 1771650"/>
                <a:gd name="connsiteX28" fmla="*/ 947737 w 1838325"/>
                <a:gd name="connsiteY28" fmla="*/ 1285875 h 1771650"/>
                <a:gd name="connsiteX29" fmla="*/ 923925 w 1838325"/>
                <a:gd name="connsiteY29" fmla="*/ 1219200 h 1771650"/>
                <a:gd name="connsiteX30" fmla="*/ 990600 w 1838325"/>
                <a:gd name="connsiteY30" fmla="*/ 1000125 h 1771650"/>
                <a:gd name="connsiteX31" fmla="*/ 1104900 w 1838325"/>
                <a:gd name="connsiteY31" fmla="*/ 876300 h 1771650"/>
                <a:gd name="connsiteX32" fmla="*/ 1062037 w 1838325"/>
                <a:gd name="connsiteY32" fmla="*/ 823912 h 1771650"/>
                <a:gd name="connsiteX33" fmla="*/ 995362 w 1838325"/>
                <a:gd name="connsiteY33" fmla="*/ 842962 h 1771650"/>
                <a:gd name="connsiteX34" fmla="*/ 1009650 w 1838325"/>
                <a:gd name="connsiteY34" fmla="*/ 723900 h 1771650"/>
                <a:gd name="connsiteX35" fmla="*/ 981075 w 1838325"/>
                <a:gd name="connsiteY35" fmla="*/ 704850 h 1771650"/>
                <a:gd name="connsiteX36" fmla="*/ 909637 w 1838325"/>
                <a:gd name="connsiteY36" fmla="*/ 752475 h 1771650"/>
                <a:gd name="connsiteX37" fmla="*/ 871537 w 1838325"/>
                <a:gd name="connsiteY37" fmla="*/ 723900 h 1771650"/>
                <a:gd name="connsiteX38" fmla="*/ 885825 w 1838325"/>
                <a:gd name="connsiteY38" fmla="*/ 623887 h 1771650"/>
                <a:gd name="connsiteX39" fmla="*/ 776287 w 1838325"/>
                <a:gd name="connsiteY39" fmla="*/ 533400 h 1771650"/>
                <a:gd name="connsiteX40" fmla="*/ 876300 w 1838325"/>
                <a:gd name="connsiteY40" fmla="*/ 490537 h 1771650"/>
                <a:gd name="connsiteX41" fmla="*/ 919162 w 1838325"/>
                <a:gd name="connsiteY41" fmla="*/ 514350 h 1771650"/>
                <a:gd name="connsiteX42" fmla="*/ 962025 w 1838325"/>
                <a:gd name="connsiteY42" fmla="*/ 409575 h 1771650"/>
                <a:gd name="connsiteX43" fmla="*/ 1133475 w 1838325"/>
                <a:gd name="connsiteY43" fmla="*/ 333375 h 1771650"/>
                <a:gd name="connsiteX44" fmla="*/ 1119187 w 1838325"/>
                <a:gd name="connsiteY44" fmla="*/ 257175 h 1771650"/>
                <a:gd name="connsiteX45" fmla="*/ 1157287 w 1838325"/>
                <a:gd name="connsiteY45" fmla="*/ 166687 h 1771650"/>
                <a:gd name="connsiteX46" fmla="*/ 1076325 w 1838325"/>
                <a:gd name="connsiteY46" fmla="*/ 85725 h 1771650"/>
                <a:gd name="connsiteX47" fmla="*/ 895350 w 1838325"/>
                <a:gd name="connsiteY47" fmla="*/ 71437 h 1771650"/>
                <a:gd name="connsiteX48" fmla="*/ 890587 w 1838325"/>
                <a:gd name="connsiteY48" fmla="*/ 4762 h 1771650"/>
                <a:gd name="connsiteX49" fmla="*/ 771525 w 1838325"/>
                <a:gd name="connsiteY49" fmla="*/ 0 h 1771650"/>
                <a:gd name="connsiteX50" fmla="*/ 700087 w 1838325"/>
                <a:gd name="connsiteY50" fmla="*/ 109537 h 1771650"/>
                <a:gd name="connsiteX51" fmla="*/ 781050 w 1838325"/>
                <a:gd name="connsiteY51" fmla="*/ 133350 h 1771650"/>
                <a:gd name="connsiteX52" fmla="*/ 809625 w 1838325"/>
                <a:gd name="connsiteY52" fmla="*/ 161925 h 1771650"/>
                <a:gd name="connsiteX53" fmla="*/ 504825 w 1838325"/>
                <a:gd name="connsiteY53" fmla="*/ 576262 h 1771650"/>
                <a:gd name="connsiteX54" fmla="*/ 385762 w 1838325"/>
                <a:gd name="connsiteY54" fmla="*/ 585787 h 1771650"/>
                <a:gd name="connsiteX55" fmla="*/ 366712 w 1838325"/>
                <a:gd name="connsiteY55" fmla="*/ 652462 h 1771650"/>
                <a:gd name="connsiteX56" fmla="*/ 376237 w 1838325"/>
                <a:gd name="connsiteY56" fmla="*/ 795337 h 1771650"/>
                <a:gd name="connsiteX57" fmla="*/ 109537 w 1838325"/>
                <a:gd name="connsiteY57" fmla="*/ 1014412 h 1771650"/>
                <a:gd name="connsiteX58" fmla="*/ 142875 w 1838325"/>
                <a:gd name="connsiteY58" fmla="*/ 1047750 h 1771650"/>
                <a:gd name="connsiteX59" fmla="*/ 80962 w 1838325"/>
                <a:gd name="connsiteY59" fmla="*/ 1162050 h 1771650"/>
                <a:gd name="connsiteX60" fmla="*/ 133350 w 1838325"/>
                <a:gd name="connsiteY60" fmla="*/ 1252537 h 1771650"/>
                <a:gd name="connsiteX61" fmla="*/ 90487 w 1838325"/>
                <a:gd name="connsiteY61" fmla="*/ 1395412 h 1771650"/>
                <a:gd name="connsiteX62" fmla="*/ 0 w 1838325"/>
                <a:gd name="connsiteY62" fmla="*/ 1423987 h 1771650"/>
                <a:gd name="connsiteX63" fmla="*/ 0 w 1838325"/>
                <a:gd name="connsiteY63" fmla="*/ 1466850 h 1771650"/>
                <a:gd name="connsiteX64" fmla="*/ 104775 w 1838325"/>
                <a:gd name="connsiteY64" fmla="*/ 1481137 h 1771650"/>
                <a:gd name="connsiteX0" fmla="*/ 104775 w 1838325"/>
                <a:gd name="connsiteY0" fmla="*/ 1481137 h 1771650"/>
                <a:gd name="connsiteX1" fmla="*/ 204787 w 1838325"/>
                <a:gd name="connsiteY1" fmla="*/ 1400175 h 1771650"/>
                <a:gd name="connsiteX2" fmla="*/ 171450 w 1838325"/>
                <a:gd name="connsiteY2" fmla="*/ 1362075 h 1771650"/>
                <a:gd name="connsiteX3" fmla="*/ 128587 w 1838325"/>
                <a:gd name="connsiteY3" fmla="*/ 1419225 h 1771650"/>
                <a:gd name="connsiteX4" fmla="*/ 147637 w 1838325"/>
                <a:gd name="connsiteY4" fmla="*/ 1323975 h 1771650"/>
                <a:gd name="connsiteX5" fmla="*/ 204787 w 1838325"/>
                <a:gd name="connsiteY5" fmla="*/ 1214437 h 1771650"/>
                <a:gd name="connsiteX6" fmla="*/ 338137 w 1838325"/>
                <a:gd name="connsiteY6" fmla="*/ 1143000 h 1771650"/>
                <a:gd name="connsiteX7" fmla="*/ 366712 w 1838325"/>
                <a:gd name="connsiteY7" fmla="*/ 1114425 h 1771650"/>
                <a:gd name="connsiteX8" fmla="*/ 481012 w 1838325"/>
                <a:gd name="connsiteY8" fmla="*/ 1109662 h 1771650"/>
                <a:gd name="connsiteX9" fmla="*/ 609600 w 1838325"/>
                <a:gd name="connsiteY9" fmla="*/ 1138237 h 1771650"/>
                <a:gd name="connsiteX10" fmla="*/ 704850 w 1838325"/>
                <a:gd name="connsiteY10" fmla="*/ 1209675 h 1771650"/>
                <a:gd name="connsiteX11" fmla="*/ 709612 w 1838325"/>
                <a:gd name="connsiteY11" fmla="*/ 1238250 h 1771650"/>
                <a:gd name="connsiteX12" fmla="*/ 638175 w 1838325"/>
                <a:gd name="connsiteY12" fmla="*/ 1247775 h 1771650"/>
                <a:gd name="connsiteX13" fmla="*/ 666750 w 1838325"/>
                <a:gd name="connsiteY13" fmla="*/ 1543050 h 1771650"/>
                <a:gd name="connsiteX14" fmla="*/ 871537 w 1838325"/>
                <a:gd name="connsiteY14" fmla="*/ 1771650 h 1771650"/>
                <a:gd name="connsiteX15" fmla="*/ 1190625 w 1838325"/>
                <a:gd name="connsiteY15" fmla="*/ 1662112 h 1771650"/>
                <a:gd name="connsiteX16" fmla="*/ 1414462 w 1838325"/>
                <a:gd name="connsiteY16" fmla="*/ 1733550 h 1771650"/>
                <a:gd name="connsiteX17" fmla="*/ 1609725 w 1838325"/>
                <a:gd name="connsiteY17" fmla="*/ 1485900 h 1771650"/>
                <a:gd name="connsiteX18" fmla="*/ 1653665 w 1838325"/>
                <a:gd name="connsiteY18" fmla="*/ 1374786 h 1771650"/>
                <a:gd name="connsiteX19" fmla="*/ 1795462 w 1838325"/>
                <a:gd name="connsiteY19" fmla="*/ 1138237 h 1771650"/>
                <a:gd name="connsiteX20" fmla="*/ 1838325 w 1838325"/>
                <a:gd name="connsiteY20" fmla="*/ 1057275 h 1771650"/>
                <a:gd name="connsiteX21" fmla="*/ 1824037 w 1838325"/>
                <a:gd name="connsiteY21" fmla="*/ 1023937 h 1771650"/>
                <a:gd name="connsiteX22" fmla="*/ 1709737 w 1838325"/>
                <a:gd name="connsiteY22" fmla="*/ 1085850 h 1771650"/>
                <a:gd name="connsiteX23" fmla="*/ 1543050 w 1838325"/>
                <a:gd name="connsiteY23" fmla="*/ 1090612 h 1771650"/>
                <a:gd name="connsiteX24" fmla="*/ 1423987 w 1838325"/>
                <a:gd name="connsiteY24" fmla="*/ 1143000 h 1771650"/>
                <a:gd name="connsiteX25" fmla="*/ 1366837 w 1838325"/>
                <a:gd name="connsiteY25" fmla="*/ 1157287 h 1771650"/>
                <a:gd name="connsiteX26" fmla="*/ 1162050 w 1838325"/>
                <a:gd name="connsiteY26" fmla="*/ 1271587 h 1771650"/>
                <a:gd name="connsiteX27" fmla="*/ 1076325 w 1838325"/>
                <a:gd name="connsiteY27" fmla="*/ 1228725 h 1771650"/>
                <a:gd name="connsiteX28" fmla="*/ 947737 w 1838325"/>
                <a:gd name="connsiteY28" fmla="*/ 1285875 h 1771650"/>
                <a:gd name="connsiteX29" fmla="*/ 923925 w 1838325"/>
                <a:gd name="connsiteY29" fmla="*/ 1219200 h 1771650"/>
                <a:gd name="connsiteX30" fmla="*/ 990600 w 1838325"/>
                <a:gd name="connsiteY30" fmla="*/ 1000125 h 1771650"/>
                <a:gd name="connsiteX31" fmla="*/ 1104900 w 1838325"/>
                <a:gd name="connsiteY31" fmla="*/ 876300 h 1771650"/>
                <a:gd name="connsiteX32" fmla="*/ 1062037 w 1838325"/>
                <a:gd name="connsiteY32" fmla="*/ 823912 h 1771650"/>
                <a:gd name="connsiteX33" fmla="*/ 995362 w 1838325"/>
                <a:gd name="connsiteY33" fmla="*/ 842962 h 1771650"/>
                <a:gd name="connsiteX34" fmla="*/ 1009650 w 1838325"/>
                <a:gd name="connsiteY34" fmla="*/ 723900 h 1771650"/>
                <a:gd name="connsiteX35" fmla="*/ 981075 w 1838325"/>
                <a:gd name="connsiteY35" fmla="*/ 704850 h 1771650"/>
                <a:gd name="connsiteX36" fmla="*/ 909637 w 1838325"/>
                <a:gd name="connsiteY36" fmla="*/ 752475 h 1771650"/>
                <a:gd name="connsiteX37" fmla="*/ 871537 w 1838325"/>
                <a:gd name="connsiteY37" fmla="*/ 723900 h 1771650"/>
                <a:gd name="connsiteX38" fmla="*/ 885825 w 1838325"/>
                <a:gd name="connsiteY38" fmla="*/ 623887 h 1771650"/>
                <a:gd name="connsiteX39" fmla="*/ 776287 w 1838325"/>
                <a:gd name="connsiteY39" fmla="*/ 533400 h 1771650"/>
                <a:gd name="connsiteX40" fmla="*/ 876300 w 1838325"/>
                <a:gd name="connsiteY40" fmla="*/ 490537 h 1771650"/>
                <a:gd name="connsiteX41" fmla="*/ 919162 w 1838325"/>
                <a:gd name="connsiteY41" fmla="*/ 514350 h 1771650"/>
                <a:gd name="connsiteX42" fmla="*/ 962025 w 1838325"/>
                <a:gd name="connsiteY42" fmla="*/ 409575 h 1771650"/>
                <a:gd name="connsiteX43" fmla="*/ 1133475 w 1838325"/>
                <a:gd name="connsiteY43" fmla="*/ 333375 h 1771650"/>
                <a:gd name="connsiteX44" fmla="*/ 1119187 w 1838325"/>
                <a:gd name="connsiteY44" fmla="*/ 257175 h 1771650"/>
                <a:gd name="connsiteX45" fmla="*/ 1157287 w 1838325"/>
                <a:gd name="connsiteY45" fmla="*/ 166687 h 1771650"/>
                <a:gd name="connsiteX46" fmla="*/ 1076325 w 1838325"/>
                <a:gd name="connsiteY46" fmla="*/ 85725 h 1771650"/>
                <a:gd name="connsiteX47" fmla="*/ 895350 w 1838325"/>
                <a:gd name="connsiteY47" fmla="*/ 71437 h 1771650"/>
                <a:gd name="connsiteX48" fmla="*/ 890587 w 1838325"/>
                <a:gd name="connsiteY48" fmla="*/ 4762 h 1771650"/>
                <a:gd name="connsiteX49" fmla="*/ 771525 w 1838325"/>
                <a:gd name="connsiteY49" fmla="*/ 0 h 1771650"/>
                <a:gd name="connsiteX50" fmla="*/ 700087 w 1838325"/>
                <a:gd name="connsiteY50" fmla="*/ 109537 h 1771650"/>
                <a:gd name="connsiteX51" fmla="*/ 781050 w 1838325"/>
                <a:gd name="connsiteY51" fmla="*/ 133350 h 1771650"/>
                <a:gd name="connsiteX52" fmla="*/ 809625 w 1838325"/>
                <a:gd name="connsiteY52" fmla="*/ 161925 h 1771650"/>
                <a:gd name="connsiteX53" fmla="*/ 504825 w 1838325"/>
                <a:gd name="connsiteY53" fmla="*/ 576262 h 1771650"/>
                <a:gd name="connsiteX54" fmla="*/ 385762 w 1838325"/>
                <a:gd name="connsiteY54" fmla="*/ 585787 h 1771650"/>
                <a:gd name="connsiteX55" fmla="*/ 366712 w 1838325"/>
                <a:gd name="connsiteY55" fmla="*/ 652462 h 1771650"/>
                <a:gd name="connsiteX56" fmla="*/ 376237 w 1838325"/>
                <a:gd name="connsiteY56" fmla="*/ 795337 h 1771650"/>
                <a:gd name="connsiteX57" fmla="*/ 109537 w 1838325"/>
                <a:gd name="connsiteY57" fmla="*/ 1014412 h 1771650"/>
                <a:gd name="connsiteX58" fmla="*/ 142875 w 1838325"/>
                <a:gd name="connsiteY58" fmla="*/ 1047750 h 1771650"/>
                <a:gd name="connsiteX59" fmla="*/ 80962 w 1838325"/>
                <a:gd name="connsiteY59" fmla="*/ 1162050 h 1771650"/>
                <a:gd name="connsiteX60" fmla="*/ 133350 w 1838325"/>
                <a:gd name="connsiteY60" fmla="*/ 1252537 h 1771650"/>
                <a:gd name="connsiteX61" fmla="*/ 90487 w 1838325"/>
                <a:gd name="connsiteY61" fmla="*/ 1395412 h 1771650"/>
                <a:gd name="connsiteX62" fmla="*/ 0 w 1838325"/>
                <a:gd name="connsiteY62" fmla="*/ 1423987 h 1771650"/>
                <a:gd name="connsiteX63" fmla="*/ 0 w 1838325"/>
                <a:gd name="connsiteY63" fmla="*/ 1466850 h 1771650"/>
                <a:gd name="connsiteX64" fmla="*/ 104775 w 1838325"/>
                <a:gd name="connsiteY64" fmla="*/ 1481137 h 1771650"/>
                <a:gd name="connsiteX0" fmla="*/ 104775 w 1838325"/>
                <a:gd name="connsiteY0" fmla="*/ 1481137 h 1771650"/>
                <a:gd name="connsiteX1" fmla="*/ 245806 w 1838325"/>
                <a:gd name="connsiteY1" fmla="*/ 1362053 h 1771650"/>
                <a:gd name="connsiteX2" fmla="*/ 171450 w 1838325"/>
                <a:gd name="connsiteY2" fmla="*/ 1362075 h 1771650"/>
                <a:gd name="connsiteX3" fmla="*/ 128587 w 1838325"/>
                <a:gd name="connsiteY3" fmla="*/ 1419225 h 1771650"/>
                <a:gd name="connsiteX4" fmla="*/ 147637 w 1838325"/>
                <a:gd name="connsiteY4" fmla="*/ 1323975 h 1771650"/>
                <a:gd name="connsiteX5" fmla="*/ 204787 w 1838325"/>
                <a:gd name="connsiteY5" fmla="*/ 1214437 h 1771650"/>
                <a:gd name="connsiteX6" fmla="*/ 338137 w 1838325"/>
                <a:gd name="connsiteY6" fmla="*/ 1143000 h 1771650"/>
                <a:gd name="connsiteX7" fmla="*/ 366712 w 1838325"/>
                <a:gd name="connsiteY7" fmla="*/ 1114425 h 1771650"/>
                <a:gd name="connsiteX8" fmla="*/ 481012 w 1838325"/>
                <a:gd name="connsiteY8" fmla="*/ 1109662 h 1771650"/>
                <a:gd name="connsiteX9" fmla="*/ 609600 w 1838325"/>
                <a:gd name="connsiteY9" fmla="*/ 1138237 h 1771650"/>
                <a:gd name="connsiteX10" fmla="*/ 704850 w 1838325"/>
                <a:gd name="connsiteY10" fmla="*/ 1209675 h 1771650"/>
                <a:gd name="connsiteX11" fmla="*/ 709612 w 1838325"/>
                <a:gd name="connsiteY11" fmla="*/ 1238250 h 1771650"/>
                <a:gd name="connsiteX12" fmla="*/ 638175 w 1838325"/>
                <a:gd name="connsiteY12" fmla="*/ 1247775 h 1771650"/>
                <a:gd name="connsiteX13" fmla="*/ 666750 w 1838325"/>
                <a:gd name="connsiteY13" fmla="*/ 1543050 h 1771650"/>
                <a:gd name="connsiteX14" fmla="*/ 871537 w 1838325"/>
                <a:gd name="connsiteY14" fmla="*/ 1771650 h 1771650"/>
                <a:gd name="connsiteX15" fmla="*/ 1190625 w 1838325"/>
                <a:gd name="connsiteY15" fmla="*/ 1662112 h 1771650"/>
                <a:gd name="connsiteX16" fmla="*/ 1414462 w 1838325"/>
                <a:gd name="connsiteY16" fmla="*/ 1733550 h 1771650"/>
                <a:gd name="connsiteX17" fmla="*/ 1609725 w 1838325"/>
                <a:gd name="connsiteY17" fmla="*/ 1485900 h 1771650"/>
                <a:gd name="connsiteX18" fmla="*/ 1653665 w 1838325"/>
                <a:gd name="connsiteY18" fmla="*/ 1374786 h 1771650"/>
                <a:gd name="connsiteX19" fmla="*/ 1795462 w 1838325"/>
                <a:gd name="connsiteY19" fmla="*/ 1138237 h 1771650"/>
                <a:gd name="connsiteX20" fmla="*/ 1838325 w 1838325"/>
                <a:gd name="connsiteY20" fmla="*/ 1057275 h 1771650"/>
                <a:gd name="connsiteX21" fmla="*/ 1824037 w 1838325"/>
                <a:gd name="connsiteY21" fmla="*/ 1023937 h 1771650"/>
                <a:gd name="connsiteX22" fmla="*/ 1709737 w 1838325"/>
                <a:gd name="connsiteY22" fmla="*/ 1085850 h 1771650"/>
                <a:gd name="connsiteX23" fmla="*/ 1543050 w 1838325"/>
                <a:gd name="connsiteY23" fmla="*/ 1090612 h 1771650"/>
                <a:gd name="connsiteX24" fmla="*/ 1423987 w 1838325"/>
                <a:gd name="connsiteY24" fmla="*/ 1143000 h 1771650"/>
                <a:gd name="connsiteX25" fmla="*/ 1366837 w 1838325"/>
                <a:gd name="connsiteY25" fmla="*/ 1157287 h 1771650"/>
                <a:gd name="connsiteX26" fmla="*/ 1162050 w 1838325"/>
                <a:gd name="connsiteY26" fmla="*/ 1271587 h 1771650"/>
                <a:gd name="connsiteX27" fmla="*/ 1076325 w 1838325"/>
                <a:gd name="connsiteY27" fmla="*/ 1228725 h 1771650"/>
                <a:gd name="connsiteX28" fmla="*/ 947737 w 1838325"/>
                <a:gd name="connsiteY28" fmla="*/ 1285875 h 1771650"/>
                <a:gd name="connsiteX29" fmla="*/ 923925 w 1838325"/>
                <a:gd name="connsiteY29" fmla="*/ 1219200 h 1771650"/>
                <a:gd name="connsiteX30" fmla="*/ 990600 w 1838325"/>
                <a:gd name="connsiteY30" fmla="*/ 1000125 h 1771650"/>
                <a:gd name="connsiteX31" fmla="*/ 1104900 w 1838325"/>
                <a:gd name="connsiteY31" fmla="*/ 876300 h 1771650"/>
                <a:gd name="connsiteX32" fmla="*/ 1062037 w 1838325"/>
                <a:gd name="connsiteY32" fmla="*/ 823912 h 1771650"/>
                <a:gd name="connsiteX33" fmla="*/ 995362 w 1838325"/>
                <a:gd name="connsiteY33" fmla="*/ 842962 h 1771650"/>
                <a:gd name="connsiteX34" fmla="*/ 1009650 w 1838325"/>
                <a:gd name="connsiteY34" fmla="*/ 723900 h 1771650"/>
                <a:gd name="connsiteX35" fmla="*/ 981075 w 1838325"/>
                <a:gd name="connsiteY35" fmla="*/ 704850 h 1771650"/>
                <a:gd name="connsiteX36" fmla="*/ 909637 w 1838325"/>
                <a:gd name="connsiteY36" fmla="*/ 752475 h 1771650"/>
                <a:gd name="connsiteX37" fmla="*/ 871537 w 1838325"/>
                <a:gd name="connsiteY37" fmla="*/ 723900 h 1771650"/>
                <a:gd name="connsiteX38" fmla="*/ 885825 w 1838325"/>
                <a:gd name="connsiteY38" fmla="*/ 623887 h 1771650"/>
                <a:gd name="connsiteX39" fmla="*/ 776287 w 1838325"/>
                <a:gd name="connsiteY39" fmla="*/ 533400 h 1771650"/>
                <a:gd name="connsiteX40" fmla="*/ 876300 w 1838325"/>
                <a:gd name="connsiteY40" fmla="*/ 490537 h 1771650"/>
                <a:gd name="connsiteX41" fmla="*/ 919162 w 1838325"/>
                <a:gd name="connsiteY41" fmla="*/ 514350 h 1771650"/>
                <a:gd name="connsiteX42" fmla="*/ 962025 w 1838325"/>
                <a:gd name="connsiteY42" fmla="*/ 409575 h 1771650"/>
                <a:gd name="connsiteX43" fmla="*/ 1133475 w 1838325"/>
                <a:gd name="connsiteY43" fmla="*/ 333375 h 1771650"/>
                <a:gd name="connsiteX44" fmla="*/ 1119187 w 1838325"/>
                <a:gd name="connsiteY44" fmla="*/ 257175 h 1771650"/>
                <a:gd name="connsiteX45" fmla="*/ 1157287 w 1838325"/>
                <a:gd name="connsiteY45" fmla="*/ 166687 h 1771650"/>
                <a:gd name="connsiteX46" fmla="*/ 1076325 w 1838325"/>
                <a:gd name="connsiteY46" fmla="*/ 85725 h 1771650"/>
                <a:gd name="connsiteX47" fmla="*/ 895350 w 1838325"/>
                <a:gd name="connsiteY47" fmla="*/ 71437 h 1771650"/>
                <a:gd name="connsiteX48" fmla="*/ 890587 w 1838325"/>
                <a:gd name="connsiteY48" fmla="*/ 4762 h 1771650"/>
                <a:gd name="connsiteX49" fmla="*/ 771525 w 1838325"/>
                <a:gd name="connsiteY49" fmla="*/ 0 h 1771650"/>
                <a:gd name="connsiteX50" fmla="*/ 700087 w 1838325"/>
                <a:gd name="connsiteY50" fmla="*/ 109537 h 1771650"/>
                <a:gd name="connsiteX51" fmla="*/ 781050 w 1838325"/>
                <a:gd name="connsiteY51" fmla="*/ 133350 h 1771650"/>
                <a:gd name="connsiteX52" fmla="*/ 809625 w 1838325"/>
                <a:gd name="connsiteY52" fmla="*/ 161925 h 1771650"/>
                <a:gd name="connsiteX53" fmla="*/ 504825 w 1838325"/>
                <a:gd name="connsiteY53" fmla="*/ 576262 h 1771650"/>
                <a:gd name="connsiteX54" fmla="*/ 385762 w 1838325"/>
                <a:gd name="connsiteY54" fmla="*/ 585787 h 1771650"/>
                <a:gd name="connsiteX55" fmla="*/ 366712 w 1838325"/>
                <a:gd name="connsiteY55" fmla="*/ 652462 h 1771650"/>
                <a:gd name="connsiteX56" fmla="*/ 376237 w 1838325"/>
                <a:gd name="connsiteY56" fmla="*/ 795337 h 1771650"/>
                <a:gd name="connsiteX57" fmla="*/ 109537 w 1838325"/>
                <a:gd name="connsiteY57" fmla="*/ 1014412 h 1771650"/>
                <a:gd name="connsiteX58" fmla="*/ 142875 w 1838325"/>
                <a:gd name="connsiteY58" fmla="*/ 1047750 h 1771650"/>
                <a:gd name="connsiteX59" fmla="*/ 80962 w 1838325"/>
                <a:gd name="connsiteY59" fmla="*/ 1162050 h 1771650"/>
                <a:gd name="connsiteX60" fmla="*/ 133350 w 1838325"/>
                <a:gd name="connsiteY60" fmla="*/ 1252537 h 1771650"/>
                <a:gd name="connsiteX61" fmla="*/ 90487 w 1838325"/>
                <a:gd name="connsiteY61" fmla="*/ 1395412 h 1771650"/>
                <a:gd name="connsiteX62" fmla="*/ 0 w 1838325"/>
                <a:gd name="connsiteY62" fmla="*/ 1423987 h 1771650"/>
                <a:gd name="connsiteX63" fmla="*/ 0 w 1838325"/>
                <a:gd name="connsiteY63" fmla="*/ 1466850 h 1771650"/>
                <a:gd name="connsiteX64" fmla="*/ 104775 w 1838325"/>
                <a:gd name="connsiteY64" fmla="*/ 1481137 h 1771650"/>
                <a:gd name="connsiteX0" fmla="*/ 132124 w 1865674"/>
                <a:gd name="connsiteY0" fmla="*/ 1481137 h 1771650"/>
                <a:gd name="connsiteX1" fmla="*/ 273155 w 1865674"/>
                <a:gd name="connsiteY1" fmla="*/ 1362053 h 1771650"/>
                <a:gd name="connsiteX2" fmla="*/ 198799 w 1865674"/>
                <a:gd name="connsiteY2" fmla="*/ 1362075 h 1771650"/>
                <a:gd name="connsiteX3" fmla="*/ 155936 w 1865674"/>
                <a:gd name="connsiteY3" fmla="*/ 1419225 h 1771650"/>
                <a:gd name="connsiteX4" fmla="*/ 174986 w 1865674"/>
                <a:gd name="connsiteY4" fmla="*/ 1323975 h 1771650"/>
                <a:gd name="connsiteX5" fmla="*/ 232136 w 1865674"/>
                <a:gd name="connsiteY5" fmla="*/ 1214437 h 1771650"/>
                <a:gd name="connsiteX6" fmla="*/ 365486 w 1865674"/>
                <a:gd name="connsiteY6" fmla="*/ 1143000 h 1771650"/>
                <a:gd name="connsiteX7" fmla="*/ 394061 w 1865674"/>
                <a:gd name="connsiteY7" fmla="*/ 1114425 h 1771650"/>
                <a:gd name="connsiteX8" fmla="*/ 508361 w 1865674"/>
                <a:gd name="connsiteY8" fmla="*/ 1109662 h 1771650"/>
                <a:gd name="connsiteX9" fmla="*/ 636949 w 1865674"/>
                <a:gd name="connsiteY9" fmla="*/ 1138237 h 1771650"/>
                <a:gd name="connsiteX10" fmla="*/ 732199 w 1865674"/>
                <a:gd name="connsiteY10" fmla="*/ 1209675 h 1771650"/>
                <a:gd name="connsiteX11" fmla="*/ 736961 w 1865674"/>
                <a:gd name="connsiteY11" fmla="*/ 1238250 h 1771650"/>
                <a:gd name="connsiteX12" fmla="*/ 665524 w 1865674"/>
                <a:gd name="connsiteY12" fmla="*/ 1247775 h 1771650"/>
                <a:gd name="connsiteX13" fmla="*/ 694099 w 1865674"/>
                <a:gd name="connsiteY13" fmla="*/ 1543050 h 1771650"/>
                <a:gd name="connsiteX14" fmla="*/ 898886 w 1865674"/>
                <a:gd name="connsiteY14" fmla="*/ 1771650 h 1771650"/>
                <a:gd name="connsiteX15" fmla="*/ 1217974 w 1865674"/>
                <a:gd name="connsiteY15" fmla="*/ 1662112 h 1771650"/>
                <a:gd name="connsiteX16" fmla="*/ 1441811 w 1865674"/>
                <a:gd name="connsiteY16" fmla="*/ 1733550 h 1771650"/>
                <a:gd name="connsiteX17" fmla="*/ 1637074 w 1865674"/>
                <a:gd name="connsiteY17" fmla="*/ 1485900 h 1771650"/>
                <a:gd name="connsiteX18" fmla="*/ 1681014 w 1865674"/>
                <a:gd name="connsiteY18" fmla="*/ 1374786 h 1771650"/>
                <a:gd name="connsiteX19" fmla="*/ 1822811 w 1865674"/>
                <a:gd name="connsiteY19" fmla="*/ 1138237 h 1771650"/>
                <a:gd name="connsiteX20" fmla="*/ 1865674 w 1865674"/>
                <a:gd name="connsiteY20" fmla="*/ 1057275 h 1771650"/>
                <a:gd name="connsiteX21" fmla="*/ 1851386 w 1865674"/>
                <a:gd name="connsiteY21" fmla="*/ 1023937 h 1771650"/>
                <a:gd name="connsiteX22" fmla="*/ 1737086 w 1865674"/>
                <a:gd name="connsiteY22" fmla="*/ 1085850 h 1771650"/>
                <a:gd name="connsiteX23" fmla="*/ 1570399 w 1865674"/>
                <a:gd name="connsiteY23" fmla="*/ 1090612 h 1771650"/>
                <a:gd name="connsiteX24" fmla="*/ 1451336 w 1865674"/>
                <a:gd name="connsiteY24" fmla="*/ 1143000 h 1771650"/>
                <a:gd name="connsiteX25" fmla="*/ 1394186 w 1865674"/>
                <a:gd name="connsiteY25" fmla="*/ 1157287 h 1771650"/>
                <a:gd name="connsiteX26" fmla="*/ 1189399 w 1865674"/>
                <a:gd name="connsiteY26" fmla="*/ 1271587 h 1771650"/>
                <a:gd name="connsiteX27" fmla="*/ 1103674 w 1865674"/>
                <a:gd name="connsiteY27" fmla="*/ 1228725 h 1771650"/>
                <a:gd name="connsiteX28" fmla="*/ 975086 w 1865674"/>
                <a:gd name="connsiteY28" fmla="*/ 1285875 h 1771650"/>
                <a:gd name="connsiteX29" fmla="*/ 951274 w 1865674"/>
                <a:gd name="connsiteY29" fmla="*/ 1219200 h 1771650"/>
                <a:gd name="connsiteX30" fmla="*/ 1017949 w 1865674"/>
                <a:gd name="connsiteY30" fmla="*/ 1000125 h 1771650"/>
                <a:gd name="connsiteX31" fmla="*/ 1132249 w 1865674"/>
                <a:gd name="connsiteY31" fmla="*/ 876300 h 1771650"/>
                <a:gd name="connsiteX32" fmla="*/ 1089386 w 1865674"/>
                <a:gd name="connsiteY32" fmla="*/ 823912 h 1771650"/>
                <a:gd name="connsiteX33" fmla="*/ 1022711 w 1865674"/>
                <a:gd name="connsiteY33" fmla="*/ 842962 h 1771650"/>
                <a:gd name="connsiteX34" fmla="*/ 1036999 w 1865674"/>
                <a:gd name="connsiteY34" fmla="*/ 723900 h 1771650"/>
                <a:gd name="connsiteX35" fmla="*/ 1008424 w 1865674"/>
                <a:gd name="connsiteY35" fmla="*/ 704850 h 1771650"/>
                <a:gd name="connsiteX36" fmla="*/ 936986 w 1865674"/>
                <a:gd name="connsiteY36" fmla="*/ 752475 h 1771650"/>
                <a:gd name="connsiteX37" fmla="*/ 898886 w 1865674"/>
                <a:gd name="connsiteY37" fmla="*/ 723900 h 1771650"/>
                <a:gd name="connsiteX38" fmla="*/ 913174 w 1865674"/>
                <a:gd name="connsiteY38" fmla="*/ 623887 h 1771650"/>
                <a:gd name="connsiteX39" fmla="*/ 803636 w 1865674"/>
                <a:gd name="connsiteY39" fmla="*/ 533400 h 1771650"/>
                <a:gd name="connsiteX40" fmla="*/ 903649 w 1865674"/>
                <a:gd name="connsiteY40" fmla="*/ 490537 h 1771650"/>
                <a:gd name="connsiteX41" fmla="*/ 946511 w 1865674"/>
                <a:gd name="connsiteY41" fmla="*/ 514350 h 1771650"/>
                <a:gd name="connsiteX42" fmla="*/ 989374 w 1865674"/>
                <a:gd name="connsiteY42" fmla="*/ 409575 h 1771650"/>
                <a:gd name="connsiteX43" fmla="*/ 1160824 w 1865674"/>
                <a:gd name="connsiteY43" fmla="*/ 333375 h 1771650"/>
                <a:gd name="connsiteX44" fmla="*/ 1146536 w 1865674"/>
                <a:gd name="connsiteY44" fmla="*/ 257175 h 1771650"/>
                <a:gd name="connsiteX45" fmla="*/ 1184636 w 1865674"/>
                <a:gd name="connsiteY45" fmla="*/ 166687 h 1771650"/>
                <a:gd name="connsiteX46" fmla="*/ 1103674 w 1865674"/>
                <a:gd name="connsiteY46" fmla="*/ 85725 h 1771650"/>
                <a:gd name="connsiteX47" fmla="*/ 922699 w 1865674"/>
                <a:gd name="connsiteY47" fmla="*/ 71437 h 1771650"/>
                <a:gd name="connsiteX48" fmla="*/ 917936 w 1865674"/>
                <a:gd name="connsiteY48" fmla="*/ 4762 h 1771650"/>
                <a:gd name="connsiteX49" fmla="*/ 798874 w 1865674"/>
                <a:gd name="connsiteY49" fmla="*/ 0 h 1771650"/>
                <a:gd name="connsiteX50" fmla="*/ 727436 w 1865674"/>
                <a:gd name="connsiteY50" fmla="*/ 109537 h 1771650"/>
                <a:gd name="connsiteX51" fmla="*/ 808399 w 1865674"/>
                <a:gd name="connsiteY51" fmla="*/ 133350 h 1771650"/>
                <a:gd name="connsiteX52" fmla="*/ 836974 w 1865674"/>
                <a:gd name="connsiteY52" fmla="*/ 161925 h 1771650"/>
                <a:gd name="connsiteX53" fmla="*/ 532174 w 1865674"/>
                <a:gd name="connsiteY53" fmla="*/ 576262 h 1771650"/>
                <a:gd name="connsiteX54" fmla="*/ 413111 w 1865674"/>
                <a:gd name="connsiteY54" fmla="*/ 585787 h 1771650"/>
                <a:gd name="connsiteX55" fmla="*/ 394061 w 1865674"/>
                <a:gd name="connsiteY55" fmla="*/ 652462 h 1771650"/>
                <a:gd name="connsiteX56" fmla="*/ 403586 w 1865674"/>
                <a:gd name="connsiteY56" fmla="*/ 795337 h 1771650"/>
                <a:gd name="connsiteX57" fmla="*/ 136886 w 1865674"/>
                <a:gd name="connsiteY57" fmla="*/ 1014412 h 1771650"/>
                <a:gd name="connsiteX58" fmla="*/ 170224 w 1865674"/>
                <a:gd name="connsiteY58" fmla="*/ 1047750 h 1771650"/>
                <a:gd name="connsiteX59" fmla="*/ 108311 w 1865674"/>
                <a:gd name="connsiteY59" fmla="*/ 1162050 h 1771650"/>
                <a:gd name="connsiteX60" fmla="*/ 160699 w 1865674"/>
                <a:gd name="connsiteY60" fmla="*/ 1252537 h 1771650"/>
                <a:gd name="connsiteX61" fmla="*/ 117836 w 1865674"/>
                <a:gd name="connsiteY61" fmla="*/ 1395412 h 1771650"/>
                <a:gd name="connsiteX62" fmla="*/ 0 w 1865674"/>
                <a:gd name="connsiteY62" fmla="*/ 1360447 h 1771650"/>
                <a:gd name="connsiteX63" fmla="*/ 27349 w 1865674"/>
                <a:gd name="connsiteY63" fmla="*/ 1466850 h 1771650"/>
                <a:gd name="connsiteX64" fmla="*/ 132124 w 1865674"/>
                <a:gd name="connsiteY64" fmla="*/ 1481137 h 1771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865674" h="1771650">
                  <a:moveTo>
                    <a:pt x="132124" y="1481137"/>
                  </a:moveTo>
                  <a:lnTo>
                    <a:pt x="273155" y="1362053"/>
                  </a:lnTo>
                  <a:lnTo>
                    <a:pt x="198799" y="1362075"/>
                  </a:lnTo>
                  <a:lnTo>
                    <a:pt x="155936" y="1419225"/>
                  </a:lnTo>
                  <a:lnTo>
                    <a:pt x="174986" y="1323975"/>
                  </a:lnTo>
                  <a:lnTo>
                    <a:pt x="232136" y="1214437"/>
                  </a:lnTo>
                  <a:lnTo>
                    <a:pt x="365486" y="1143000"/>
                  </a:lnTo>
                  <a:lnTo>
                    <a:pt x="394061" y="1114425"/>
                  </a:lnTo>
                  <a:lnTo>
                    <a:pt x="508361" y="1109662"/>
                  </a:lnTo>
                  <a:lnTo>
                    <a:pt x="636949" y="1138237"/>
                  </a:lnTo>
                  <a:lnTo>
                    <a:pt x="732199" y="1209675"/>
                  </a:lnTo>
                  <a:lnTo>
                    <a:pt x="736961" y="1238250"/>
                  </a:lnTo>
                  <a:lnTo>
                    <a:pt x="665524" y="1247775"/>
                  </a:lnTo>
                  <a:lnTo>
                    <a:pt x="694099" y="1543050"/>
                  </a:lnTo>
                  <a:lnTo>
                    <a:pt x="898886" y="1771650"/>
                  </a:lnTo>
                  <a:lnTo>
                    <a:pt x="1217974" y="1662112"/>
                  </a:lnTo>
                  <a:lnTo>
                    <a:pt x="1441811" y="1733550"/>
                  </a:lnTo>
                  <a:lnTo>
                    <a:pt x="1637074" y="1485900"/>
                  </a:lnTo>
                  <a:lnTo>
                    <a:pt x="1681014" y="1374786"/>
                  </a:lnTo>
                  <a:lnTo>
                    <a:pt x="1822811" y="1138237"/>
                  </a:lnTo>
                  <a:lnTo>
                    <a:pt x="1865674" y="1057275"/>
                  </a:lnTo>
                  <a:lnTo>
                    <a:pt x="1851386" y="1023937"/>
                  </a:lnTo>
                  <a:lnTo>
                    <a:pt x="1737086" y="1085850"/>
                  </a:lnTo>
                  <a:lnTo>
                    <a:pt x="1570399" y="1090612"/>
                  </a:lnTo>
                  <a:lnTo>
                    <a:pt x="1451336" y="1143000"/>
                  </a:lnTo>
                  <a:lnTo>
                    <a:pt x="1394186" y="1157287"/>
                  </a:lnTo>
                  <a:lnTo>
                    <a:pt x="1189399" y="1271587"/>
                  </a:lnTo>
                  <a:lnTo>
                    <a:pt x="1103674" y="1228725"/>
                  </a:lnTo>
                  <a:lnTo>
                    <a:pt x="975086" y="1285875"/>
                  </a:lnTo>
                  <a:lnTo>
                    <a:pt x="951274" y="1219200"/>
                  </a:lnTo>
                  <a:lnTo>
                    <a:pt x="1017949" y="1000125"/>
                  </a:lnTo>
                  <a:lnTo>
                    <a:pt x="1132249" y="876300"/>
                  </a:lnTo>
                  <a:lnTo>
                    <a:pt x="1089386" y="823912"/>
                  </a:lnTo>
                  <a:lnTo>
                    <a:pt x="1022711" y="842962"/>
                  </a:lnTo>
                  <a:lnTo>
                    <a:pt x="1036999" y="723900"/>
                  </a:lnTo>
                  <a:lnTo>
                    <a:pt x="1008424" y="704850"/>
                  </a:lnTo>
                  <a:lnTo>
                    <a:pt x="936986" y="752475"/>
                  </a:lnTo>
                  <a:lnTo>
                    <a:pt x="898886" y="723900"/>
                  </a:lnTo>
                  <a:lnTo>
                    <a:pt x="913174" y="623887"/>
                  </a:lnTo>
                  <a:lnTo>
                    <a:pt x="803636" y="533400"/>
                  </a:lnTo>
                  <a:lnTo>
                    <a:pt x="903649" y="490537"/>
                  </a:lnTo>
                  <a:lnTo>
                    <a:pt x="946511" y="514350"/>
                  </a:lnTo>
                  <a:lnTo>
                    <a:pt x="989374" y="409575"/>
                  </a:lnTo>
                  <a:lnTo>
                    <a:pt x="1160824" y="333375"/>
                  </a:lnTo>
                  <a:lnTo>
                    <a:pt x="1146536" y="257175"/>
                  </a:lnTo>
                  <a:lnTo>
                    <a:pt x="1184636" y="166687"/>
                  </a:lnTo>
                  <a:lnTo>
                    <a:pt x="1103674" y="85725"/>
                  </a:lnTo>
                  <a:lnTo>
                    <a:pt x="922699" y="71437"/>
                  </a:lnTo>
                  <a:lnTo>
                    <a:pt x="917936" y="4762"/>
                  </a:lnTo>
                  <a:lnTo>
                    <a:pt x="798874" y="0"/>
                  </a:lnTo>
                  <a:lnTo>
                    <a:pt x="727436" y="109537"/>
                  </a:lnTo>
                  <a:lnTo>
                    <a:pt x="808399" y="133350"/>
                  </a:lnTo>
                  <a:lnTo>
                    <a:pt x="836974" y="161925"/>
                  </a:lnTo>
                  <a:lnTo>
                    <a:pt x="532174" y="576262"/>
                  </a:lnTo>
                  <a:lnTo>
                    <a:pt x="413111" y="585787"/>
                  </a:lnTo>
                  <a:lnTo>
                    <a:pt x="394061" y="652462"/>
                  </a:lnTo>
                  <a:lnTo>
                    <a:pt x="403586" y="795337"/>
                  </a:lnTo>
                  <a:lnTo>
                    <a:pt x="136886" y="1014412"/>
                  </a:lnTo>
                  <a:lnTo>
                    <a:pt x="170224" y="1047750"/>
                  </a:lnTo>
                  <a:lnTo>
                    <a:pt x="108311" y="1162050"/>
                  </a:lnTo>
                  <a:lnTo>
                    <a:pt x="160699" y="1252537"/>
                  </a:lnTo>
                  <a:lnTo>
                    <a:pt x="117836" y="1395412"/>
                  </a:lnTo>
                  <a:lnTo>
                    <a:pt x="0" y="1360447"/>
                  </a:lnTo>
                  <a:lnTo>
                    <a:pt x="27349" y="1466850"/>
                  </a:lnTo>
                  <a:lnTo>
                    <a:pt x="132124" y="1481137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E91EC761-1D43-44FF-A435-3CE290CAC5FD}"/>
              </a:ext>
            </a:extLst>
          </p:cNvPr>
          <p:cNvGrpSpPr/>
          <p:nvPr/>
        </p:nvGrpSpPr>
        <p:grpSpPr>
          <a:xfrm>
            <a:off x="8019849" y="1725758"/>
            <a:ext cx="3604703" cy="932277"/>
            <a:chOff x="8019849" y="1725758"/>
            <a:chExt cx="3604703" cy="932277"/>
          </a:xfrm>
        </p:grpSpPr>
        <p:sp>
          <p:nvSpPr>
            <p:cNvPr id="59" name="RbLeanShape Right U-Shape 13"/>
            <p:cNvSpPr/>
            <p:nvPr/>
          </p:nvSpPr>
          <p:spPr>
            <a:xfrm rot="5400000">
              <a:off x="9656523" y="497313"/>
              <a:ext cx="331355" cy="3604703"/>
            </a:xfrm>
            <a:custGeom>
              <a:avLst/>
              <a:gdLst>
                <a:gd name="connsiteX0" fmla="*/ 1270000 w 1270000"/>
                <a:gd name="connsiteY0" fmla="*/ 0 h 3175000"/>
                <a:gd name="connsiteX1" fmla="*/ 0 w 1270000"/>
                <a:gd name="connsiteY1" fmla="*/ 0 h 3175000"/>
                <a:gd name="connsiteX2" fmla="*/ 0 w 1270000"/>
                <a:gd name="connsiteY2" fmla="*/ 3175000 h 3175000"/>
                <a:gd name="connsiteX3" fmla="*/ 1270000 w 1270000"/>
                <a:gd name="connsiteY3" fmla="*/ 3175000 h 317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0000" h="3175000">
                  <a:moveTo>
                    <a:pt x="1270000" y="0"/>
                  </a:moveTo>
                  <a:lnTo>
                    <a:pt x="0" y="0"/>
                  </a:lnTo>
                  <a:lnTo>
                    <a:pt x="0" y="3175000"/>
                  </a:lnTo>
                  <a:lnTo>
                    <a:pt x="1270000" y="3175000"/>
                  </a:lnTo>
                </a:path>
              </a:pathLst>
            </a:custGeom>
            <a:ln w="19050">
              <a:solidFill>
                <a:srgbClr val="DA183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0000" tIns="90000" rIns="0" bIns="0" rtlCol="0" anchor="t"/>
            <a:lstStyle/>
            <a:p>
              <a:pPr fontAlgn="ctr"/>
              <a:endParaRPr lang="en-GB" sz="1300" b="1" dirty="0"/>
            </a:p>
          </p:txBody>
        </p:sp>
        <p:grpSp>
          <p:nvGrpSpPr>
            <p:cNvPr id="16" name="Gruppieren 15"/>
            <p:cNvGrpSpPr/>
            <p:nvPr/>
          </p:nvGrpSpPr>
          <p:grpSpPr>
            <a:xfrm>
              <a:off x="9370880" y="1725758"/>
              <a:ext cx="902640" cy="932277"/>
              <a:chOff x="9376293" y="1725758"/>
              <a:chExt cx="902640" cy="932277"/>
            </a:xfrm>
          </p:grpSpPr>
          <p:sp>
            <p:nvSpPr>
              <p:cNvPr id="71" name="Ellipse 70"/>
              <p:cNvSpPr/>
              <p:nvPr/>
            </p:nvSpPr>
            <p:spPr>
              <a:xfrm>
                <a:off x="9455849" y="1725758"/>
                <a:ext cx="743528" cy="743528"/>
              </a:xfrm>
              <a:prstGeom prst="ellipse">
                <a:avLst/>
              </a:prstGeom>
              <a:gradFill>
                <a:gsLst>
                  <a:gs pos="100000">
                    <a:srgbClr val="F5A1AF"/>
                  </a:gs>
                  <a:gs pos="35000">
                    <a:srgbClr val="DA1838"/>
                  </a:gs>
                  <a:gs pos="1000">
                    <a:srgbClr val="A2122A"/>
                  </a:gs>
                  <a:gs pos="65000">
                    <a:srgbClr val="EC526C"/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27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55" name="Textfeld 54"/>
              <p:cNvSpPr txBox="1"/>
              <p:nvPr/>
            </p:nvSpPr>
            <p:spPr>
              <a:xfrm>
                <a:off x="9376293" y="2319481"/>
                <a:ext cx="902640" cy="338554"/>
              </a:xfrm>
              <a:prstGeom prst="rect">
                <a:avLst/>
              </a:prstGeom>
              <a:noFill/>
            </p:spPr>
            <p:txBody>
              <a:bodyPr spcFirstLastPara="1" wrap="none" numCol="1" rtlCol="0">
                <a:prstTxWarp prst="textArchDown">
                  <a:avLst/>
                </a:prstTxWarp>
                <a:spAutoFit/>
              </a:bodyPr>
              <a:lstStyle>
                <a:defPPr>
                  <a:defRPr lang="de-DE"/>
                </a:defPPr>
                <a:lvl1pPr algn="ctr">
                  <a:defRPr sz="1600" b="1">
                    <a:solidFill>
                      <a:srgbClr val="DA1838"/>
                    </a:solidFill>
                    <a:latin typeface="Calibri Light" panose="020F0302020204030204" pitchFamily="34" charset="0"/>
                  </a:defRPr>
                </a:lvl1pPr>
              </a:lstStyle>
              <a:p>
                <a:r>
                  <a:rPr lang="en-GB" dirty="0"/>
                  <a:t>Italian-speaking</a:t>
                </a:r>
              </a:p>
            </p:txBody>
          </p:sp>
          <p:grpSp>
            <p:nvGrpSpPr>
              <p:cNvPr id="9" name="Gruppieren 8"/>
              <p:cNvGrpSpPr/>
              <p:nvPr/>
            </p:nvGrpSpPr>
            <p:grpSpPr>
              <a:xfrm>
                <a:off x="9531780" y="1847551"/>
                <a:ext cx="591666" cy="463337"/>
                <a:chOff x="9542296" y="1847551"/>
                <a:chExt cx="591666" cy="463337"/>
              </a:xfrm>
            </p:grpSpPr>
            <p:pic>
              <p:nvPicPr>
                <p:cNvPr id="52" name="Picture 2" descr="http://upload.wikimedia.org/wikipedia/de/f/f7/Karte_gruene_schweiz.png"/>
                <p:cNvPicPr>
                  <a:picLocks noChangeAspect="1" noChangeArrowheads="1"/>
                </p:cNvPicPr>
                <p:nvPr/>
              </p:nvPicPr>
              <p:blipFill>
                <a:blip r:embed="rId13" cstate="print">
                  <a:duotone>
                    <a:srgbClr val="D2D2D2">
                      <a:shade val="45000"/>
                      <a:satMod val="135000"/>
                    </a:srgb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542296" y="1847551"/>
                  <a:ext cx="591666" cy="41942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54" name="Forme libre 7"/>
                <p:cNvSpPr/>
                <p:nvPr/>
              </p:nvSpPr>
              <p:spPr>
                <a:xfrm>
                  <a:off x="9826765" y="2077742"/>
                  <a:ext cx="183713" cy="233146"/>
                </a:xfrm>
                <a:custGeom>
                  <a:avLst/>
                  <a:gdLst>
                    <a:gd name="connsiteX0" fmla="*/ 38100 w 704850"/>
                    <a:gd name="connsiteY0" fmla="*/ 90488 h 847725"/>
                    <a:gd name="connsiteX1" fmla="*/ 0 w 704850"/>
                    <a:gd name="connsiteY1" fmla="*/ 176213 h 847725"/>
                    <a:gd name="connsiteX2" fmla="*/ 57150 w 704850"/>
                    <a:gd name="connsiteY2" fmla="*/ 171450 h 847725"/>
                    <a:gd name="connsiteX3" fmla="*/ 76200 w 704850"/>
                    <a:gd name="connsiteY3" fmla="*/ 381000 h 847725"/>
                    <a:gd name="connsiteX4" fmla="*/ 366712 w 704850"/>
                    <a:gd name="connsiteY4" fmla="*/ 585788 h 847725"/>
                    <a:gd name="connsiteX5" fmla="*/ 338137 w 704850"/>
                    <a:gd name="connsiteY5" fmla="*/ 685800 h 847725"/>
                    <a:gd name="connsiteX6" fmla="*/ 442912 w 704850"/>
                    <a:gd name="connsiteY6" fmla="*/ 833438 h 847725"/>
                    <a:gd name="connsiteX7" fmla="*/ 490537 w 704850"/>
                    <a:gd name="connsiteY7" fmla="*/ 847725 h 847725"/>
                    <a:gd name="connsiteX8" fmla="*/ 490537 w 704850"/>
                    <a:gd name="connsiteY8" fmla="*/ 561975 h 847725"/>
                    <a:gd name="connsiteX9" fmla="*/ 681037 w 704850"/>
                    <a:gd name="connsiteY9" fmla="*/ 304800 h 847725"/>
                    <a:gd name="connsiteX10" fmla="*/ 681037 w 704850"/>
                    <a:gd name="connsiteY10" fmla="*/ 133350 h 847725"/>
                    <a:gd name="connsiteX11" fmla="*/ 704850 w 704850"/>
                    <a:gd name="connsiteY11" fmla="*/ 119063 h 847725"/>
                    <a:gd name="connsiteX12" fmla="*/ 681037 w 704850"/>
                    <a:gd name="connsiteY12" fmla="*/ 85725 h 847725"/>
                    <a:gd name="connsiteX13" fmla="*/ 523875 w 704850"/>
                    <a:gd name="connsiteY13" fmla="*/ 128588 h 847725"/>
                    <a:gd name="connsiteX14" fmla="*/ 476250 w 704850"/>
                    <a:gd name="connsiteY14" fmla="*/ 0 h 847725"/>
                    <a:gd name="connsiteX15" fmla="*/ 366712 w 704850"/>
                    <a:gd name="connsiteY15" fmla="*/ 61913 h 847725"/>
                    <a:gd name="connsiteX16" fmla="*/ 266700 w 704850"/>
                    <a:gd name="connsiteY16" fmla="*/ 23813 h 847725"/>
                    <a:gd name="connsiteX17" fmla="*/ 209550 w 704850"/>
                    <a:gd name="connsiteY17" fmla="*/ 61913 h 847725"/>
                    <a:gd name="connsiteX18" fmla="*/ 138112 w 704850"/>
                    <a:gd name="connsiteY18" fmla="*/ 33338 h 847725"/>
                    <a:gd name="connsiteX19" fmla="*/ 38100 w 704850"/>
                    <a:gd name="connsiteY19" fmla="*/ 90488 h 8477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704850" h="847725">
                      <a:moveTo>
                        <a:pt x="38100" y="90488"/>
                      </a:moveTo>
                      <a:lnTo>
                        <a:pt x="0" y="176213"/>
                      </a:lnTo>
                      <a:lnTo>
                        <a:pt x="57150" y="171450"/>
                      </a:lnTo>
                      <a:lnTo>
                        <a:pt x="76200" y="381000"/>
                      </a:lnTo>
                      <a:lnTo>
                        <a:pt x="366712" y="585788"/>
                      </a:lnTo>
                      <a:lnTo>
                        <a:pt x="338137" y="685800"/>
                      </a:lnTo>
                      <a:lnTo>
                        <a:pt x="442912" y="833438"/>
                      </a:lnTo>
                      <a:lnTo>
                        <a:pt x="490537" y="847725"/>
                      </a:lnTo>
                      <a:lnTo>
                        <a:pt x="490537" y="561975"/>
                      </a:lnTo>
                      <a:lnTo>
                        <a:pt x="681037" y="304800"/>
                      </a:lnTo>
                      <a:lnTo>
                        <a:pt x="681037" y="133350"/>
                      </a:lnTo>
                      <a:lnTo>
                        <a:pt x="704850" y="119063"/>
                      </a:lnTo>
                      <a:lnTo>
                        <a:pt x="681037" y="85725"/>
                      </a:lnTo>
                      <a:lnTo>
                        <a:pt x="523875" y="128588"/>
                      </a:lnTo>
                      <a:lnTo>
                        <a:pt x="476250" y="0"/>
                      </a:lnTo>
                      <a:lnTo>
                        <a:pt x="366712" y="61913"/>
                      </a:lnTo>
                      <a:lnTo>
                        <a:pt x="266700" y="23813"/>
                      </a:lnTo>
                      <a:lnTo>
                        <a:pt x="209550" y="61913"/>
                      </a:lnTo>
                      <a:lnTo>
                        <a:pt x="138112" y="33338"/>
                      </a:lnTo>
                      <a:lnTo>
                        <a:pt x="38100" y="90488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</p:grpSp>
      </p:grpSp>
      <p:cxnSp>
        <p:nvCxnSpPr>
          <p:cNvPr id="125" name="Gerade Verbindung 124"/>
          <p:cNvCxnSpPr>
            <a:cxnSpLocks/>
          </p:cNvCxnSpPr>
          <p:nvPr/>
        </p:nvCxnSpPr>
        <p:spPr>
          <a:xfrm>
            <a:off x="4201413" y="4868550"/>
            <a:ext cx="3517591" cy="0"/>
          </a:xfrm>
          <a:prstGeom prst="line">
            <a:avLst/>
          </a:prstGeom>
          <a:ln w="952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DIGIMIG - The research project on the digital migration of radio usage in Switzerland</a:t>
            </a:r>
          </a:p>
        </p:txBody>
      </p:sp>
      <p:cxnSp>
        <p:nvCxnSpPr>
          <p:cNvPr id="208" name="Gerade Verbindung 207"/>
          <p:cNvCxnSpPr/>
          <p:nvPr/>
        </p:nvCxnSpPr>
        <p:spPr>
          <a:xfrm>
            <a:off x="371475" y="1270165"/>
            <a:ext cx="11353800" cy="0"/>
          </a:xfrm>
          <a:prstGeom prst="line">
            <a:avLst/>
          </a:prstGeom>
          <a:ln w="19050">
            <a:gradFill flip="none" rotWithShape="1">
              <a:gsLst>
                <a:gs pos="43000">
                  <a:srgbClr val="DA1838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Rechteck 208"/>
          <p:cNvSpPr/>
          <p:nvPr/>
        </p:nvSpPr>
        <p:spPr>
          <a:xfrm>
            <a:off x="10437607" y="6808"/>
            <a:ext cx="165141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1400" b="1" dirty="0">
                <a:solidFill>
                  <a:srgbClr val="DA1838"/>
                </a:solidFill>
              </a:rPr>
              <a:t>LANGUAGE REGION</a:t>
            </a:r>
          </a:p>
        </p:txBody>
      </p:sp>
      <p:sp>
        <p:nvSpPr>
          <p:cNvPr id="210" name="Titel 2"/>
          <p:cNvSpPr>
            <a:spLocks noGrp="1"/>
          </p:cNvSpPr>
          <p:nvPr>
            <p:ph type="title"/>
          </p:nvPr>
        </p:nvSpPr>
        <p:spPr>
          <a:xfrm>
            <a:off x="385267" y="399357"/>
            <a:ext cx="10515600" cy="387798"/>
          </a:xfrm>
        </p:spPr>
        <p:txBody>
          <a:bodyPr/>
          <a:lstStyle/>
          <a:p>
            <a:r>
              <a:rPr lang="en-GB" dirty="0"/>
              <a:t>Radio use by language region</a:t>
            </a:r>
          </a:p>
        </p:txBody>
      </p:sp>
      <p:cxnSp>
        <p:nvCxnSpPr>
          <p:cNvPr id="403" name="Gerade Verbindung 124">
            <a:extLst>
              <a:ext uri="{FF2B5EF4-FFF2-40B4-BE49-F238E27FC236}">
                <a16:creationId xmlns:a16="http://schemas.microsoft.com/office/drawing/2014/main" id="{0E095672-EEF3-43C7-B4A4-7240B09D2FF0}"/>
              </a:ext>
            </a:extLst>
          </p:cNvPr>
          <p:cNvCxnSpPr>
            <a:cxnSpLocks/>
          </p:cNvCxnSpPr>
          <p:nvPr/>
        </p:nvCxnSpPr>
        <p:spPr>
          <a:xfrm>
            <a:off x="316354" y="4868550"/>
            <a:ext cx="3609603" cy="0"/>
          </a:xfrm>
          <a:prstGeom prst="line">
            <a:avLst/>
          </a:prstGeom>
          <a:ln w="9525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hteck 4">
            <a:extLst>
              <a:ext uri="{FF2B5EF4-FFF2-40B4-BE49-F238E27FC236}">
                <a16:creationId xmlns:a16="http://schemas.microsoft.com/office/drawing/2014/main" id="{E3EBC4C1-A694-413E-87DC-E0007C27B3AC}"/>
              </a:ext>
            </a:extLst>
          </p:cNvPr>
          <p:cNvSpPr/>
          <p:nvPr/>
        </p:nvSpPr>
        <p:spPr>
          <a:xfrm>
            <a:off x="5515057" y="5840419"/>
            <a:ext cx="962853" cy="1501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136" name="Gruppieren 135">
            <a:extLst>
              <a:ext uri="{FF2B5EF4-FFF2-40B4-BE49-F238E27FC236}">
                <a16:creationId xmlns:a16="http://schemas.microsoft.com/office/drawing/2014/main" id="{2BE998CA-A09E-44C3-B706-8E2B07F0D102}"/>
              </a:ext>
            </a:extLst>
          </p:cNvPr>
          <p:cNvGrpSpPr/>
          <p:nvPr/>
        </p:nvGrpSpPr>
        <p:grpSpPr>
          <a:xfrm>
            <a:off x="4878655" y="5924928"/>
            <a:ext cx="2434691" cy="299493"/>
            <a:chOff x="346062" y="6009882"/>
            <a:chExt cx="2434691" cy="299493"/>
          </a:xfrm>
        </p:grpSpPr>
        <p:grpSp>
          <p:nvGrpSpPr>
            <p:cNvPr id="137" name="Gruppieren 136">
              <a:extLst>
                <a:ext uri="{FF2B5EF4-FFF2-40B4-BE49-F238E27FC236}">
                  <a16:creationId xmlns:a16="http://schemas.microsoft.com/office/drawing/2014/main" id="{E903623C-EBC5-4209-B6EC-601E8C814C37}"/>
                </a:ext>
              </a:extLst>
            </p:cNvPr>
            <p:cNvGrpSpPr/>
            <p:nvPr/>
          </p:nvGrpSpPr>
          <p:grpSpPr>
            <a:xfrm>
              <a:off x="346062" y="6032376"/>
              <a:ext cx="873325" cy="276999"/>
              <a:chOff x="346062" y="6011422"/>
              <a:chExt cx="873325" cy="276999"/>
            </a:xfrm>
          </p:grpSpPr>
          <p:sp>
            <p:nvSpPr>
              <p:cNvPr id="182" name="Freihandform: Form 181">
                <a:extLst>
                  <a:ext uri="{FF2B5EF4-FFF2-40B4-BE49-F238E27FC236}">
                    <a16:creationId xmlns:a16="http://schemas.microsoft.com/office/drawing/2014/main" id="{5FC252E3-82E0-4875-83B6-BF45877B0413}"/>
                  </a:ext>
                </a:extLst>
              </p:cNvPr>
              <p:cNvSpPr/>
              <p:nvPr/>
            </p:nvSpPr>
            <p:spPr>
              <a:xfrm rot="17313778">
                <a:off x="391982" y="5971045"/>
                <a:ext cx="265911" cy="357752"/>
              </a:xfrm>
              <a:custGeom>
                <a:avLst/>
                <a:gdLst>
                  <a:gd name="connsiteX0" fmla="*/ 389868 w 2015694"/>
                  <a:gd name="connsiteY0" fmla="*/ 519306 h 2501079"/>
                  <a:gd name="connsiteX1" fmla="*/ 340242 w 2015694"/>
                  <a:gd name="connsiteY1" fmla="*/ 480675 h 2501079"/>
                  <a:gd name="connsiteX2" fmla="*/ 317828 w 2015694"/>
                  <a:gd name="connsiteY2" fmla="*/ 483487 h 2501079"/>
                  <a:gd name="connsiteX3" fmla="*/ 317828 w 2015694"/>
                  <a:gd name="connsiteY3" fmla="*/ 483486 h 2501079"/>
                  <a:gd name="connsiteX4" fmla="*/ 317827 w 2015694"/>
                  <a:gd name="connsiteY4" fmla="*/ 483487 h 2501079"/>
                  <a:gd name="connsiteX5" fmla="*/ 317828 w 2015694"/>
                  <a:gd name="connsiteY5" fmla="*/ 483487 h 2501079"/>
                  <a:gd name="connsiteX6" fmla="*/ 298259 w 2015694"/>
                  <a:gd name="connsiteY6" fmla="*/ 494774 h 2501079"/>
                  <a:gd name="connsiteX7" fmla="*/ 282008 w 2015694"/>
                  <a:gd name="connsiteY7" fmla="*/ 555527 h 2501079"/>
                  <a:gd name="connsiteX8" fmla="*/ 559267 w 2015694"/>
                  <a:gd name="connsiteY8" fmla="*/ 1381153 h 2501079"/>
                  <a:gd name="connsiteX9" fmla="*/ 631308 w 2015694"/>
                  <a:gd name="connsiteY9" fmla="*/ 1416972 h 2501079"/>
                  <a:gd name="connsiteX10" fmla="*/ 631308 w 2015694"/>
                  <a:gd name="connsiteY10" fmla="*/ 1416973 h 2501079"/>
                  <a:gd name="connsiteX11" fmla="*/ 667128 w 2015694"/>
                  <a:gd name="connsiteY11" fmla="*/ 1344932 h 2501079"/>
                  <a:gd name="connsiteX12" fmla="*/ 588703 w 2015694"/>
                  <a:gd name="connsiteY12" fmla="*/ 452534 h 2501079"/>
                  <a:gd name="connsiteX13" fmla="*/ 539077 w 2015694"/>
                  <a:gd name="connsiteY13" fmla="*/ 413903 h 2501079"/>
                  <a:gd name="connsiteX14" fmla="*/ 516662 w 2015694"/>
                  <a:gd name="connsiteY14" fmla="*/ 416714 h 2501079"/>
                  <a:gd name="connsiteX15" fmla="*/ 497094 w 2015694"/>
                  <a:gd name="connsiteY15" fmla="*/ 428002 h 2501079"/>
                  <a:gd name="connsiteX16" fmla="*/ 480843 w 2015694"/>
                  <a:gd name="connsiteY16" fmla="*/ 488755 h 2501079"/>
                  <a:gd name="connsiteX17" fmla="*/ 758102 w 2015694"/>
                  <a:gd name="connsiteY17" fmla="*/ 1314380 h 2501079"/>
                  <a:gd name="connsiteX18" fmla="*/ 830143 w 2015694"/>
                  <a:gd name="connsiteY18" fmla="*/ 1350200 h 2501079"/>
                  <a:gd name="connsiteX19" fmla="*/ 830143 w 2015694"/>
                  <a:gd name="connsiteY19" fmla="*/ 1350201 h 2501079"/>
                  <a:gd name="connsiteX20" fmla="*/ 865963 w 2015694"/>
                  <a:gd name="connsiteY20" fmla="*/ 1278160 h 2501079"/>
                  <a:gd name="connsiteX21" fmla="*/ 783494 w 2015694"/>
                  <a:gd name="connsiteY21" fmla="*/ 387120 h 2501079"/>
                  <a:gd name="connsiteX22" fmla="*/ 733868 w 2015694"/>
                  <a:gd name="connsiteY22" fmla="*/ 348489 h 2501079"/>
                  <a:gd name="connsiteX23" fmla="*/ 711453 w 2015694"/>
                  <a:gd name="connsiteY23" fmla="*/ 351300 h 2501079"/>
                  <a:gd name="connsiteX24" fmla="*/ 691885 w 2015694"/>
                  <a:gd name="connsiteY24" fmla="*/ 362587 h 2501079"/>
                  <a:gd name="connsiteX25" fmla="*/ 675634 w 2015694"/>
                  <a:gd name="connsiteY25" fmla="*/ 423341 h 2501079"/>
                  <a:gd name="connsiteX26" fmla="*/ 952893 w 2015694"/>
                  <a:gd name="connsiteY26" fmla="*/ 1248966 h 2501079"/>
                  <a:gd name="connsiteX27" fmla="*/ 1024934 w 2015694"/>
                  <a:gd name="connsiteY27" fmla="*/ 1284786 h 2501079"/>
                  <a:gd name="connsiteX28" fmla="*/ 1024934 w 2015694"/>
                  <a:gd name="connsiteY28" fmla="*/ 1284787 h 2501079"/>
                  <a:gd name="connsiteX29" fmla="*/ 1060753 w 2015694"/>
                  <a:gd name="connsiteY29" fmla="*/ 1212746 h 2501079"/>
                  <a:gd name="connsiteX30" fmla="*/ 1254458 w 2015694"/>
                  <a:gd name="connsiteY30" fmla="*/ 1147696 h 2501079"/>
                  <a:gd name="connsiteX31" fmla="*/ 977198 w 2015694"/>
                  <a:gd name="connsiteY31" fmla="*/ 322070 h 2501079"/>
                  <a:gd name="connsiteX32" fmla="*/ 927572 w 2015694"/>
                  <a:gd name="connsiteY32" fmla="*/ 283440 h 2501079"/>
                  <a:gd name="connsiteX33" fmla="*/ 905157 w 2015694"/>
                  <a:gd name="connsiteY33" fmla="*/ 286251 h 2501079"/>
                  <a:gd name="connsiteX34" fmla="*/ 885589 w 2015694"/>
                  <a:gd name="connsiteY34" fmla="*/ 297538 h 2501079"/>
                  <a:gd name="connsiteX35" fmla="*/ 869338 w 2015694"/>
                  <a:gd name="connsiteY35" fmla="*/ 358292 h 2501079"/>
                  <a:gd name="connsiteX36" fmla="*/ 1146597 w 2015694"/>
                  <a:gd name="connsiteY36" fmla="*/ 1183917 h 2501079"/>
                  <a:gd name="connsiteX37" fmla="*/ 1218638 w 2015694"/>
                  <a:gd name="connsiteY37" fmla="*/ 1219736 h 2501079"/>
                  <a:gd name="connsiteX38" fmla="*/ 1218638 w 2015694"/>
                  <a:gd name="connsiteY38" fmla="*/ 1219737 h 2501079"/>
                  <a:gd name="connsiteX39" fmla="*/ 1254458 w 2015694"/>
                  <a:gd name="connsiteY39" fmla="*/ 1147696 h 2501079"/>
                  <a:gd name="connsiteX40" fmla="*/ 1522837 w 2015694"/>
                  <a:gd name="connsiteY40" fmla="*/ 1709825 h 2501079"/>
                  <a:gd name="connsiteX41" fmla="*/ 1306666 w 2015694"/>
                  <a:gd name="connsiteY41" fmla="*/ 2131518 h 2501079"/>
                  <a:gd name="connsiteX42" fmla="*/ 879790 w 2015694"/>
                  <a:gd name="connsiteY42" fmla="*/ 1925771 h 2501079"/>
                  <a:gd name="connsiteX43" fmla="*/ 1095961 w 2015694"/>
                  <a:gd name="connsiteY43" fmla="*/ 1504078 h 2501079"/>
                  <a:gd name="connsiteX44" fmla="*/ 1522837 w 2015694"/>
                  <a:gd name="connsiteY44" fmla="*/ 1709825 h 2501079"/>
                  <a:gd name="connsiteX45" fmla="*/ 1593127 w 2015694"/>
                  <a:gd name="connsiteY45" fmla="*/ 1686220 h 2501079"/>
                  <a:gd name="connsiteX46" fmla="*/ 1072356 w 2015694"/>
                  <a:gd name="connsiteY46" fmla="*/ 1433789 h 2501079"/>
                  <a:gd name="connsiteX47" fmla="*/ 809501 w 2015694"/>
                  <a:gd name="connsiteY47" fmla="*/ 1949376 h 2501079"/>
                  <a:gd name="connsiteX48" fmla="*/ 1330271 w 2015694"/>
                  <a:gd name="connsiteY48" fmla="*/ 2201807 h 2501079"/>
                  <a:gd name="connsiteX49" fmla="*/ 1593127 w 2015694"/>
                  <a:gd name="connsiteY49" fmla="*/ 1686220 h 2501079"/>
                  <a:gd name="connsiteX50" fmla="*/ 1443557 w 2015694"/>
                  <a:gd name="connsiteY50" fmla="*/ 1084193 h 2501079"/>
                  <a:gd name="connsiteX51" fmla="*/ 1166297 w 2015694"/>
                  <a:gd name="connsiteY51" fmla="*/ 258568 h 2501079"/>
                  <a:gd name="connsiteX52" fmla="*/ 1116671 w 2015694"/>
                  <a:gd name="connsiteY52" fmla="*/ 219937 h 2501079"/>
                  <a:gd name="connsiteX53" fmla="*/ 1094257 w 2015694"/>
                  <a:gd name="connsiteY53" fmla="*/ 222748 h 2501079"/>
                  <a:gd name="connsiteX54" fmla="*/ 1074688 w 2015694"/>
                  <a:gd name="connsiteY54" fmla="*/ 234035 h 2501079"/>
                  <a:gd name="connsiteX55" fmla="*/ 1058437 w 2015694"/>
                  <a:gd name="connsiteY55" fmla="*/ 294789 h 2501079"/>
                  <a:gd name="connsiteX56" fmla="*/ 1335696 w 2015694"/>
                  <a:gd name="connsiteY56" fmla="*/ 1120414 h 2501079"/>
                  <a:gd name="connsiteX57" fmla="*/ 1407737 w 2015694"/>
                  <a:gd name="connsiteY57" fmla="*/ 1156234 h 2501079"/>
                  <a:gd name="connsiteX58" fmla="*/ 1443557 w 2015694"/>
                  <a:gd name="connsiteY58" fmla="*/ 1084193 h 2501079"/>
                  <a:gd name="connsiteX59" fmla="*/ 2010796 w 2015694"/>
                  <a:gd name="connsiteY59" fmla="*/ 401383 h 2501079"/>
                  <a:gd name="connsiteX60" fmla="*/ 2010796 w 2015694"/>
                  <a:gd name="connsiteY60" fmla="*/ 1887765 h 2501079"/>
                  <a:gd name="connsiteX61" fmla="*/ 2013841 w 2015694"/>
                  <a:gd name="connsiteY61" fmla="*/ 1901159 h 2501079"/>
                  <a:gd name="connsiteX62" fmla="*/ 1844841 w 2015694"/>
                  <a:gd name="connsiteY62" fmla="*/ 2168943 h 2501079"/>
                  <a:gd name="connsiteX63" fmla="*/ 894823 w 2015694"/>
                  <a:gd name="connsiteY63" fmla="*/ 2487976 h 2501079"/>
                  <a:gd name="connsiteX64" fmla="*/ 577551 w 2015694"/>
                  <a:gd name="connsiteY64" fmla="*/ 2330225 h 2501079"/>
                  <a:gd name="connsiteX65" fmla="*/ 13102 w 2015694"/>
                  <a:gd name="connsiteY65" fmla="*/ 649407 h 2501079"/>
                  <a:gd name="connsiteX66" fmla="*/ 170853 w 2015694"/>
                  <a:gd name="connsiteY66" fmla="*/ 332135 h 2501079"/>
                  <a:gd name="connsiteX67" fmla="*/ 1120871 w 2015694"/>
                  <a:gd name="connsiteY67" fmla="*/ 13102 h 2501079"/>
                  <a:gd name="connsiteX68" fmla="*/ 1438143 w 2015694"/>
                  <a:gd name="connsiteY68" fmla="*/ 170853 h 2501079"/>
                  <a:gd name="connsiteX69" fmla="*/ 1899652 w 2015694"/>
                  <a:gd name="connsiteY69" fmla="*/ 1545137 h 2501079"/>
                  <a:gd name="connsiteX70" fmla="*/ 1899652 w 2015694"/>
                  <a:gd name="connsiteY70" fmla="*/ 401383 h 2501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2015694" h="2501079">
                    <a:moveTo>
                      <a:pt x="389868" y="519306"/>
                    </a:moveTo>
                    <a:cubicBezTo>
                      <a:pt x="382366" y="496968"/>
                      <a:pt x="362348" y="482362"/>
                      <a:pt x="340242" y="480675"/>
                    </a:cubicBezTo>
                    <a:lnTo>
                      <a:pt x="317828" y="483487"/>
                    </a:lnTo>
                    <a:lnTo>
                      <a:pt x="317828" y="483486"/>
                    </a:lnTo>
                    <a:lnTo>
                      <a:pt x="317827" y="483487"/>
                    </a:lnTo>
                    <a:lnTo>
                      <a:pt x="317828" y="483487"/>
                    </a:lnTo>
                    <a:lnTo>
                      <a:pt x="298259" y="494774"/>
                    </a:lnTo>
                    <a:cubicBezTo>
                      <a:pt x="281653" y="509461"/>
                      <a:pt x="274507" y="533189"/>
                      <a:pt x="282008" y="555527"/>
                    </a:cubicBezTo>
                    <a:lnTo>
                      <a:pt x="559267" y="1381153"/>
                    </a:lnTo>
                    <a:cubicBezTo>
                      <a:pt x="569269" y="1410937"/>
                      <a:pt x="601524" y="1426974"/>
                      <a:pt x="631308" y="1416972"/>
                    </a:cubicBezTo>
                    <a:lnTo>
                      <a:pt x="631308" y="1416973"/>
                    </a:lnTo>
                    <a:cubicBezTo>
                      <a:pt x="661093" y="1406971"/>
                      <a:pt x="677130" y="1374717"/>
                      <a:pt x="667128" y="1344932"/>
                    </a:cubicBezTo>
                    <a:close/>
                    <a:moveTo>
                      <a:pt x="588703" y="452534"/>
                    </a:moveTo>
                    <a:cubicBezTo>
                      <a:pt x="581201" y="430196"/>
                      <a:pt x="561183" y="415590"/>
                      <a:pt x="539077" y="413903"/>
                    </a:cubicBezTo>
                    <a:lnTo>
                      <a:pt x="516662" y="416714"/>
                    </a:lnTo>
                    <a:lnTo>
                      <a:pt x="497094" y="428002"/>
                    </a:lnTo>
                    <a:cubicBezTo>
                      <a:pt x="480487" y="442689"/>
                      <a:pt x="473342" y="466417"/>
                      <a:pt x="480843" y="488755"/>
                    </a:cubicBezTo>
                    <a:lnTo>
                      <a:pt x="758102" y="1314380"/>
                    </a:lnTo>
                    <a:cubicBezTo>
                      <a:pt x="768104" y="1344165"/>
                      <a:pt x="800358" y="1360202"/>
                      <a:pt x="830143" y="1350200"/>
                    </a:cubicBezTo>
                    <a:lnTo>
                      <a:pt x="830143" y="1350201"/>
                    </a:lnTo>
                    <a:cubicBezTo>
                      <a:pt x="859928" y="1340199"/>
                      <a:pt x="875965" y="1307944"/>
                      <a:pt x="865963" y="1278160"/>
                    </a:cubicBezTo>
                    <a:close/>
                    <a:moveTo>
                      <a:pt x="783494" y="387120"/>
                    </a:moveTo>
                    <a:cubicBezTo>
                      <a:pt x="775992" y="364781"/>
                      <a:pt x="755973" y="350176"/>
                      <a:pt x="733868" y="348489"/>
                    </a:cubicBezTo>
                    <a:lnTo>
                      <a:pt x="711453" y="351300"/>
                    </a:lnTo>
                    <a:lnTo>
                      <a:pt x="691885" y="362587"/>
                    </a:lnTo>
                    <a:cubicBezTo>
                      <a:pt x="675278" y="377275"/>
                      <a:pt x="668132" y="401003"/>
                      <a:pt x="675634" y="423341"/>
                    </a:cubicBezTo>
                    <a:lnTo>
                      <a:pt x="952893" y="1248966"/>
                    </a:lnTo>
                    <a:cubicBezTo>
                      <a:pt x="962895" y="1278751"/>
                      <a:pt x="995149" y="1294788"/>
                      <a:pt x="1024934" y="1284786"/>
                    </a:cubicBezTo>
                    <a:lnTo>
                      <a:pt x="1024934" y="1284787"/>
                    </a:lnTo>
                    <a:cubicBezTo>
                      <a:pt x="1054718" y="1274785"/>
                      <a:pt x="1070756" y="1242530"/>
                      <a:pt x="1060753" y="1212746"/>
                    </a:cubicBezTo>
                    <a:close/>
                    <a:moveTo>
                      <a:pt x="1254458" y="1147696"/>
                    </a:moveTo>
                    <a:lnTo>
                      <a:pt x="977198" y="322070"/>
                    </a:lnTo>
                    <a:cubicBezTo>
                      <a:pt x="969696" y="299732"/>
                      <a:pt x="949678" y="285127"/>
                      <a:pt x="927572" y="283440"/>
                    </a:cubicBezTo>
                    <a:lnTo>
                      <a:pt x="905157" y="286251"/>
                    </a:lnTo>
                    <a:lnTo>
                      <a:pt x="885589" y="297538"/>
                    </a:lnTo>
                    <a:cubicBezTo>
                      <a:pt x="868982" y="312225"/>
                      <a:pt x="861837" y="335953"/>
                      <a:pt x="869338" y="358292"/>
                    </a:cubicBezTo>
                    <a:lnTo>
                      <a:pt x="1146597" y="1183917"/>
                    </a:lnTo>
                    <a:cubicBezTo>
                      <a:pt x="1156599" y="1213701"/>
                      <a:pt x="1188854" y="1229738"/>
                      <a:pt x="1218638" y="1219736"/>
                    </a:cubicBezTo>
                    <a:lnTo>
                      <a:pt x="1218638" y="1219737"/>
                    </a:lnTo>
                    <a:cubicBezTo>
                      <a:pt x="1248423" y="1209735"/>
                      <a:pt x="1264460" y="1177481"/>
                      <a:pt x="1254458" y="1147696"/>
                    </a:cubicBezTo>
                    <a:close/>
                    <a:moveTo>
                      <a:pt x="1522837" y="1709825"/>
                    </a:moveTo>
                    <a:cubicBezTo>
                      <a:pt x="1581022" y="1883087"/>
                      <a:pt x="1484239" y="2071886"/>
                      <a:pt x="1306666" y="2131518"/>
                    </a:cubicBezTo>
                    <a:cubicBezTo>
                      <a:pt x="1129094" y="2191150"/>
                      <a:pt x="937975" y="2099034"/>
                      <a:pt x="879790" y="1925771"/>
                    </a:cubicBezTo>
                    <a:cubicBezTo>
                      <a:pt x="821606" y="1752509"/>
                      <a:pt x="918388" y="1563710"/>
                      <a:pt x="1095961" y="1504078"/>
                    </a:cubicBezTo>
                    <a:cubicBezTo>
                      <a:pt x="1273534" y="1444446"/>
                      <a:pt x="1464653" y="1536563"/>
                      <a:pt x="1522837" y="1709825"/>
                    </a:cubicBezTo>
                    <a:close/>
                    <a:moveTo>
                      <a:pt x="1593127" y="1686220"/>
                    </a:moveTo>
                    <a:cubicBezTo>
                      <a:pt x="1521905" y="1474138"/>
                      <a:pt x="1288749" y="1361120"/>
                      <a:pt x="1072356" y="1433789"/>
                    </a:cubicBezTo>
                    <a:cubicBezTo>
                      <a:pt x="855964" y="1506457"/>
                      <a:pt x="738279" y="1737293"/>
                      <a:pt x="809501" y="1949376"/>
                    </a:cubicBezTo>
                    <a:cubicBezTo>
                      <a:pt x="880722" y="2161459"/>
                      <a:pt x="1113878" y="2274476"/>
                      <a:pt x="1330271" y="2201807"/>
                    </a:cubicBezTo>
                    <a:cubicBezTo>
                      <a:pt x="1546663" y="2129139"/>
                      <a:pt x="1664348" y="1898303"/>
                      <a:pt x="1593127" y="1686220"/>
                    </a:cubicBezTo>
                    <a:close/>
                    <a:moveTo>
                      <a:pt x="1443557" y="1084193"/>
                    </a:moveTo>
                    <a:lnTo>
                      <a:pt x="1166297" y="258568"/>
                    </a:lnTo>
                    <a:cubicBezTo>
                      <a:pt x="1158795" y="236229"/>
                      <a:pt x="1138777" y="221624"/>
                      <a:pt x="1116671" y="219937"/>
                    </a:cubicBezTo>
                    <a:lnTo>
                      <a:pt x="1094257" y="222748"/>
                    </a:lnTo>
                    <a:lnTo>
                      <a:pt x="1074688" y="234035"/>
                    </a:lnTo>
                    <a:cubicBezTo>
                      <a:pt x="1058081" y="248723"/>
                      <a:pt x="1050936" y="272450"/>
                      <a:pt x="1058437" y="294789"/>
                    </a:cubicBezTo>
                    <a:lnTo>
                      <a:pt x="1335696" y="1120414"/>
                    </a:lnTo>
                    <a:cubicBezTo>
                      <a:pt x="1345698" y="1150198"/>
                      <a:pt x="1377953" y="1166236"/>
                      <a:pt x="1407737" y="1156234"/>
                    </a:cubicBezTo>
                    <a:cubicBezTo>
                      <a:pt x="1437522" y="1146232"/>
                      <a:pt x="1453559" y="1113978"/>
                      <a:pt x="1443557" y="1084193"/>
                    </a:cubicBezTo>
                    <a:close/>
                    <a:moveTo>
                      <a:pt x="2010796" y="401383"/>
                    </a:moveTo>
                    <a:lnTo>
                      <a:pt x="2010796" y="1887765"/>
                    </a:lnTo>
                    <a:lnTo>
                      <a:pt x="2013841" y="1901159"/>
                    </a:lnTo>
                    <a:cubicBezTo>
                      <a:pt x="2028040" y="2016826"/>
                      <a:pt x="1959618" y="2130399"/>
                      <a:pt x="1844841" y="2168943"/>
                    </a:cubicBezTo>
                    <a:lnTo>
                      <a:pt x="894823" y="2487976"/>
                    </a:lnTo>
                    <a:cubicBezTo>
                      <a:pt x="763649" y="2532027"/>
                      <a:pt x="621602" y="2461399"/>
                      <a:pt x="577551" y="2330225"/>
                    </a:cubicBezTo>
                    <a:lnTo>
                      <a:pt x="13102" y="649407"/>
                    </a:lnTo>
                    <a:cubicBezTo>
                      <a:pt x="-30948" y="518233"/>
                      <a:pt x="39679" y="376186"/>
                      <a:pt x="170853" y="332135"/>
                    </a:cubicBezTo>
                    <a:lnTo>
                      <a:pt x="1120871" y="13102"/>
                    </a:lnTo>
                    <a:cubicBezTo>
                      <a:pt x="1252045" y="-30948"/>
                      <a:pt x="1394092" y="39679"/>
                      <a:pt x="1438143" y="170853"/>
                    </a:cubicBezTo>
                    <a:lnTo>
                      <a:pt x="1899652" y="1545137"/>
                    </a:lnTo>
                    <a:lnTo>
                      <a:pt x="1899652" y="401383"/>
                    </a:lnTo>
                    <a:close/>
                  </a:path>
                </a:pathLst>
              </a:custGeom>
              <a:solidFill>
                <a:srgbClr val="7F7F7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183" name="Textfeld 182">
                <a:extLst>
                  <a:ext uri="{FF2B5EF4-FFF2-40B4-BE49-F238E27FC236}">
                    <a16:creationId xmlns:a16="http://schemas.microsoft.com/office/drawing/2014/main" id="{B096374E-84CB-4A22-BEDE-D1B3731A7771}"/>
                  </a:ext>
                </a:extLst>
              </p:cNvPr>
              <p:cNvSpPr txBox="1"/>
              <p:nvPr/>
            </p:nvSpPr>
            <p:spPr>
              <a:xfrm>
                <a:off x="755102" y="6011422"/>
                <a:ext cx="464285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GB" sz="9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j-lt"/>
                  </a:rPr>
                  <a:t>Analogue/FM</a:t>
                </a:r>
              </a:p>
            </p:txBody>
          </p:sp>
        </p:grpSp>
        <p:grpSp>
          <p:nvGrpSpPr>
            <p:cNvPr id="138" name="Gruppieren 137">
              <a:extLst>
                <a:ext uri="{FF2B5EF4-FFF2-40B4-BE49-F238E27FC236}">
                  <a16:creationId xmlns:a16="http://schemas.microsoft.com/office/drawing/2014/main" id="{7D5A5CD6-1451-47BD-88C4-5940BCE97098}"/>
                </a:ext>
              </a:extLst>
            </p:cNvPr>
            <p:cNvGrpSpPr/>
            <p:nvPr/>
          </p:nvGrpSpPr>
          <p:grpSpPr>
            <a:xfrm>
              <a:off x="1862552" y="6021006"/>
              <a:ext cx="918201" cy="288369"/>
              <a:chOff x="2331436" y="6009918"/>
              <a:chExt cx="918201" cy="288369"/>
            </a:xfrm>
          </p:grpSpPr>
          <p:grpSp>
            <p:nvGrpSpPr>
              <p:cNvPr id="140" name="Gruppieren 139">
                <a:extLst>
                  <a:ext uri="{FF2B5EF4-FFF2-40B4-BE49-F238E27FC236}">
                    <a16:creationId xmlns:a16="http://schemas.microsoft.com/office/drawing/2014/main" id="{084CB70E-9256-4CD4-BA58-DDD9AA593389}"/>
                  </a:ext>
                </a:extLst>
              </p:cNvPr>
              <p:cNvGrpSpPr/>
              <p:nvPr/>
            </p:nvGrpSpPr>
            <p:grpSpPr>
              <a:xfrm>
                <a:off x="2331436" y="6009918"/>
                <a:ext cx="359606" cy="280007"/>
                <a:chOff x="4499071" y="2060847"/>
                <a:chExt cx="852894" cy="720080"/>
              </a:xfrm>
              <a:solidFill>
                <a:srgbClr val="404040"/>
              </a:solidFill>
            </p:grpSpPr>
            <p:sp>
              <p:nvSpPr>
                <p:cNvPr id="142" name="Freihandform: Form 141">
                  <a:extLst>
                    <a:ext uri="{FF2B5EF4-FFF2-40B4-BE49-F238E27FC236}">
                      <a16:creationId xmlns:a16="http://schemas.microsoft.com/office/drawing/2014/main" id="{A65ACFC3-F8A0-4079-ADDC-E3282EEFCA65}"/>
                    </a:ext>
                  </a:extLst>
                </p:cNvPr>
                <p:cNvSpPr/>
                <p:nvPr/>
              </p:nvSpPr>
              <p:spPr>
                <a:xfrm>
                  <a:off x="4499071" y="2060847"/>
                  <a:ext cx="833058" cy="720080"/>
                </a:xfrm>
                <a:custGeom>
                  <a:avLst/>
                  <a:gdLst>
                    <a:gd name="connsiteX0" fmla="*/ 29582 w 833058"/>
                    <a:gd name="connsiteY0" fmla="*/ 0 h 720080"/>
                    <a:gd name="connsiteX1" fmla="*/ 803476 w 833058"/>
                    <a:gd name="connsiteY1" fmla="*/ 0 h 720080"/>
                    <a:gd name="connsiteX2" fmla="*/ 833058 w 833058"/>
                    <a:gd name="connsiteY2" fmla="*/ 29582 h 720080"/>
                    <a:gd name="connsiteX3" fmla="*/ 833058 w 833058"/>
                    <a:gd name="connsiteY3" fmla="*/ 311680 h 720080"/>
                    <a:gd name="connsiteX4" fmla="*/ 813876 w 833058"/>
                    <a:gd name="connsiteY4" fmla="*/ 303734 h 720080"/>
                    <a:gd name="connsiteX5" fmla="*/ 785375 w 833058"/>
                    <a:gd name="connsiteY5" fmla="*/ 303734 h 720080"/>
                    <a:gd name="connsiteX6" fmla="*/ 785375 w 833058"/>
                    <a:gd name="connsiteY6" fmla="*/ 69496 h 720080"/>
                    <a:gd name="connsiteX7" fmla="*/ 760626 w 833058"/>
                    <a:gd name="connsiteY7" fmla="*/ 44747 h 720080"/>
                    <a:gd name="connsiteX8" fmla="*/ 72433 w 833058"/>
                    <a:gd name="connsiteY8" fmla="*/ 44747 h 720080"/>
                    <a:gd name="connsiteX9" fmla="*/ 47684 w 833058"/>
                    <a:gd name="connsiteY9" fmla="*/ 69496 h 720080"/>
                    <a:gd name="connsiteX10" fmla="*/ 47684 w 833058"/>
                    <a:gd name="connsiteY10" fmla="*/ 478220 h 720080"/>
                    <a:gd name="connsiteX11" fmla="*/ 72433 w 833058"/>
                    <a:gd name="connsiteY11" fmla="*/ 502969 h 720080"/>
                    <a:gd name="connsiteX12" fmla="*/ 599582 w 833058"/>
                    <a:gd name="connsiteY12" fmla="*/ 502969 h 720080"/>
                    <a:gd name="connsiteX13" fmla="*/ 599582 w 833058"/>
                    <a:gd name="connsiteY13" fmla="*/ 547716 h 720080"/>
                    <a:gd name="connsiteX14" fmla="*/ 501553 w 833058"/>
                    <a:gd name="connsiteY14" fmla="*/ 547716 h 720080"/>
                    <a:gd name="connsiteX15" fmla="*/ 501553 w 833058"/>
                    <a:gd name="connsiteY15" fmla="*/ 649014 h 720080"/>
                    <a:gd name="connsiteX16" fmla="*/ 580320 w 833058"/>
                    <a:gd name="connsiteY16" fmla="*/ 649014 h 720080"/>
                    <a:gd name="connsiteX17" fmla="*/ 599582 w 833058"/>
                    <a:gd name="connsiteY17" fmla="*/ 656993 h 720080"/>
                    <a:gd name="connsiteX18" fmla="*/ 599582 w 833058"/>
                    <a:gd name="connsiteY18" fmla="*/ 677596 h 720080"/>
                    <a:gd name="connsiteX19" fmla="*/ 609157 w 833058"/>
                    <a:gd name="connsiteY19" fmla="*/ 700711 h 720080"/>
                    <a:gd name="connsiteX20" fmla="*/ 605445 w 833058"/>
                    <a:gd name="connsiteY20" fmla="*/ 709673 h 720080"/>
                    <a:gd name="connsiteX21" fmla="*/ 580319 w 833058"/>
                    <a:gd name="connsiteY21" fmla="*/ 720080 h 720080"/>
                    <a:gd name="connsiteX22" fmla="*/ 198948 w 833058"/>
                    <a:gd name="connsiteY22" fmla="*/ 720079 h 720080"/>
                    <a:gd name="connsiteX23" fmla="*/ 173823 w 833058"/>
                    <a:gd name="connsiteY23" fmla="*/ 709672 h 720080"/>
                    <a:gd name="connsiteX24" fmla="*/ 163415 w 833058"/>
                    <a:gd name="connsiteY24" fmla="*/ 684547 h 720080"/>
                    <a:gd name="connsiteX25" fmla="*/ 173823 w 833058"/>
                    <a:gd name="connsiteY25" fmla="*/ 659422 h 720080"/>
                    <a:gd name="connsiteX26" fmla="*/ 198948 w 833058"/>
                    <a:gd name="connsiteY26" fmla="*/ 649014 h 720080"/>
                    <a:gd name="connsiteX27" fmla="*/ 313434 w 833058"/>
                    <a:gd name="connsiteY27" fmla="*/ 649014 h 720080"/>
                    <a:gd name="connsiteX28" fmla="*/ 313434 w 833058"/>
                    <a:gd name="connsiteY28" fmla="*/ 547716 h 720080"/>
                    <a:gd name="connsiteX29" fmla="*/ 29582 w 833058"/>
                    <a:gd name="connsiteY29" fmla="*/ 547716 h 720080"/>
                    <a:gd name="connsiteX30" fmla="*/ 0 w 833058"/>
                    <a:gd name="connsiteY30" fmla="*/ 518134 h 720080"/>
                    <a:gd name="connsiteX31" fmla="*/ 0 w 833058"/>
                    <a:gd name="connsiteY31" fmla="*/ 29582 h 720080"/>
                    <a:gd name="connsiteX32" fmla="*/ 29582 w 833058"/>
                    <a:gd name="connsiteY32" fmla="*/ 0 h 7200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</a:cxnLst>
                  <a:rect l="l" t="t" r="r" b="b"/>
                  <a:pathLst>
                    <a:path w="833058" h="720080">
                      <a:moveTo>
                        <a:pt x="29582" y="0"/>
                      </a:moveTo>
                      <a:lnTo>
                        <a:pt x="803476" y="0"/>
                      </a:lnTo>
                      <a:cubicBezTo>
                        <a:pt x="819814" y="0"/>
                        <a:pt x="833058" y="13244"/>
                        <a:pt x="833058" y="29582"/>
                      </a:cubicBezTo>
                      <a:lnTo>
                        <a:pt x="833058" y="311680"/>
                      </a:lnTo>
                      <a:lnTo>
                        <a:pt x="813876" y="303734"/>
                      </a:lnTo>
                      <a:lnTo>
                        <a:pt x="785375" y="303734"/>
                      </a:lnTo>
                      <a:lnTo>
                        <a:pt x="785375" y="69496"/>
                      </a:lnTo>
                      <a:cubicBezTo>
                        <a:pt x="785375" y="55828"/>
                        <a:pt x="774294" y="44747"/>
                        <a:pt x="760626" y="44747"/>
                      </a:cubicBezTo>
                      <a:lnTo>
                        <a:pt x="72433" y="44747"/>
                      </a:lnTo>
                      <a:cubicBezTo>
                        <a:pt x="58765" y="44747"/>
                        <a:pt x="47684" y="55828"/>
                        <a:pt x="47684" y="69496"/>
                      </a:cubicBezTo>
                      <a:lnTo>
                        <a:pt x="47684" y="478220"/>
                      </a:lnTo>
                      <a:cubicBezTo>
                        <a:pt x="47684" y="491888"/>
                        <a:pt x="58765" y="502969"/>
                        <a:pt x="72433" y="502969"/>
                      </a:cubicBezTo>
                      <a:lnTo>
                        <a:pt x="599582" y="502969"/>
                      </a:lnTo>
                      <a:lnTo>
                        <a:pt x="599582" y="547716"/>
                      </a:lnTo>
                      <a:lnTo>
                        <a:pt x="501553" y="547716"/>
                      </a:lnTo>
                      <a:lnTo>
                        <a:pt x="501553" y="649014"/>
                      </a:lnTo>
                      <a:lnTo>
                        <a:pt x="580320" y="649014"/>
                      </a:lnTo>
                      <a:lnTo>
                        <a:pt x="599582" y="656993"/>
                      </a:lnTo>
                      <a:lnTo>
                        <a:pt x="599582" y="677596"/>
                      </a:lnTo>
                      <a:lnTo>
                        <a:pt x="609157" y="700711"/>
                      </a:lnTo>
                      <a:lnTo>
                        <a:pt x="605445" y="709673"/>
                      </a:lnTo>
                      <a:cubicBezTo>
                        <a:pt x="599014" y="716103"/>
                        <a:pt x="590131" y="720080"/>
                        <a:pt x="580319" y="720080"/>
                      </a:cubicBezTo>
                      <a:lnTo>
                        <a:pt x="198948" y="720079"/>
                      </a:lnTo>
                      <a:cubicBezTo>
                        <a:pt x="189136" y="720079"/>
                        <a:pt x="180253" y="716102"/>
                        <a:pt x="173823" y="709672"/>
                      </a:cubicBezTo>
                      <a:lnTo>
                        <a:pt x="163415" y="684547"/>
                      </a:lnTo>
                      <a:lnTo>
                        <a:pt x="173823" y="659422"/>
                      </a:lnTo>
                      <a:cubicBezTo>
                        <a:pt x="180253" y="652991"/>
                        <a:pt x="189136" y="649014"/>
                        <a:pt x="198948" y="649014"/>
                      </a:cubicBezTo>
                      <a:lnTo>
                        <a:pt x="313434" y="649014"/>
                      </a:lnTo>
                      <a:lnTo>
                        <a:pt x="313434" y="547716"/>
                      </a:lnTo>
                      <a:lnTo>
                        <a:pt x="29582" y="547716"/>
                      </a:lnTo>
                      <a:cubicBezTo>
                        <a:pt x="13244" y="547716"/>
                        <a:pt x="0" y="534472"/>
                        <a:pt x="0" y="518134"/>
                      </a:cubicBezTo>
                      <a:lnTo>
                        <a:pt x="0" y="29582"/>
                      </a:lnTo>
                      <a:cubicBezTo>
                        <a:pt x="0" y="13244"/>
                        <a:pt x="13244" y="0"/>
                        <a:pt x="29582" y="0"/>
                      </a:cubicBez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dirty="0"/>
                </a:p>
              </p:txBody>
            </p:sp>
            <p:sp>
              <p:nvSpPr>
                <p:cNvPr id="143" name="Rechteck 142">
                  <a:extLst>
                    <a:ext uri="{FF2B5EF4-FFF2-40B4-BE49-F238E27FC236}">
                      <a16:creationId xmlns:a16="http://schemas.microsoft.com/office/drawing/2014/main" id="{A209E381-1156-4FB0-A411-C9AA3D21A73F}"/>
                    </a:ext>
                  </a:extLst>
                </p:cNvPr>
                <p:cNvSpPr/>
                <p:nvPr/>
              </p:nvSpPr>
              <p:spPr>
                <a:xfrm>
                  <a:off x="4612481" y="2169319"/>
                  <a:ext cx="597693" cy="128587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dirty="0"/>
                </a:p>
              </p:txBody>
            </p:sp>
            <p:sp>
              <p:nvSpPr>
                <p:cNvPr id="144" name="Rechteck 143">
                  <a:extLst>
                    <a:ext uri="{FF2B5EF4-FFF2-40B4-BE49-F238E27FC236}">
                      <a16:creationId xmlns:a16="http://schemas.microsoft.com/office/drawing/2014/main" id="{7339AB43-8314-4E15-872B-FBDA95140D86}"/>
                    </a:ext>
                  </a:extLst>
                </p:cNvPr>
                <p:cNvSpPr/>
                <p:nvPr/>
              </p:nvSpPr>
              <p:spPr>
                <a:xfrm>
                  <a:off x="4612481" y="2336753"/>
                  <a:ext cx="390525" cy="177847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dirty="0"/>
                </a:p>
              </p:txBody>
            </p:sp>
            <p:sp>
              <p:nvSpPr>
                <p:cNvPr id="145" name="Freihandform: Form 144">
                  <a:extLst>
                    <a:ext uri="{FF2B5EF4-FFF2-40B4-BE49-F238E27FC236}">
                      <a16:creationId xmlns:a16="http://schemas.microsoft.com/office/drawing/2014/main" id="{41D9FE9D-4E03-4956-BE6E-7001FEA14DFF}"/>
                    </a:ext>
                  </a:extLst>
                </p:cNvPr>
                <p:cNvSpPr/>
                <p:nvPr/>
              </p:nvSpPr>
              <p:spPr>
                <a:xfrm>
                  <a:off x="5050023" y="2336753"/>
                  <a:ext cx="160151" cy="177847"/>
                </a:xfrm>
                <a:custGeom>
                  <a:avLst/>
                  <a:gdLst>
                    <a:gd name="connsiteX0" fmla="*/ 0 w 160151"/>
                    <a:gd name="connsiteY0" fmla="*/ 0 h 177847"/>
                    <a:gd name="connsiteX1" fmla="*/ 160151 w 160151"/>
                    <a:gd name="connsiteY1" fmla="*/ 0 h 177847"/>
                    <a:gd name="connsiteX2" fmla="*/ 160151 w 160151"/>
                    <a:gd name="connsiteY2" fmla="*/ 27828 h 177847"/>
                    <a:gd name="connsiteX3" fmla="*/ 91114 w 160151"/>
                    <a:gd name="connsiteY3" fmla="*/ 27828 h 177847"/>
                    <a:gd name="connsiteX4" fmla="*/ 48630 w 160151"/>
                    <a:gd name="connsiteY4" fmla="*/ 70312 h 177847"/>
                    <a:gd name="connsiteX5" fmla="*/ 48630 w 160151"/>
                    <a:gd name="connsiteY5" fmla="*/ 177847 h 177847"/>
                    <a:gd name="connsiteX6" fmla="*/ 0 w 160151"/>
                    <a:gd name="connsiteY6" fmla="*/ 177847 h 1778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0151" h="177847">
                      <a:moveTo>
                        <a:pt x="0" y="0"/>
                      </a:moveTo>
                      <a:lnTo>
                        <a:pt x="160151" y="0"/>
                      </a:lnTo>
                      <a:lnTo>
                        <a:pt x="160151" y="27828"/>
                      </a:lnTo>
                      <a:lnTo>
                        <a:pt x="91114" y="27828"/>
                      </a:lnTo>
                      <a:cubicBezTo>
                        <a:pt x="67651" y="27828"/>
                        <a:pt x="48630" y="46849"/>
                        <a:pt x="48630" y="70312"/>
                      </a:cubicBezTo>
                      <a:lnTo>
                        <a:pt x="48630" y="177847"/>
                      </a:lnTo>
                      <a:lnTo>
                        <a:pt x="0" y="17784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dirty="0"/>
                </a:p>
              </p:txBody>
            </p:sp>
            <p:sp>
              <p:nvSpPr>
                <p:cNvPr id="166" name="Freihandform: Form 165">
                  <a:extLst>
                    <a:ext uri="{FF2B5EF4-FFF2-40B4-BE49-F238E27FC236}">
                      <a16:creationId xmlns:a16="http://schemas.microsoft.com/office/drawing/2014/main" id="{7BCF5C03-2107-42DC-9D24-D81F7DA79A26}"/>
                    </a:ext>
                  </a:extLst>
                </p:cNvPr>
                <p:cNvSpPr/>
                <p:nvPr/>
              </p:nvSpPr>
              <p:spPr>
                <a:xfrm>
                  <a:off x="5117306" y="2383631"/>
                  <a:ext cx="234659" cy="397296"/>
                </a:xfrm>
                <a:custGeom>
                  <a:avLst/>
                  <a:gdLst>
                    <a:gd name="connsiteX0" fmla="*/ 102329 w 234659"/>
                    <a:gd name="connsiteY0" fmla="*/ 359320 h 397296"/>
                    <a:gd name="connsiteX1" fmla="*/ 99329 w 234659"/>
                    <a:gd name="connsiteY1" fmla="*/ 362320 h 397296"/>
                    <a:gd name="connsiteX2" fmla="*/ 99329 w 234659"/>
                    <a:gd name="connsiteY2" fmla="*/ 374320 h 397296"/>
                    <a:gd name="connsiteX3" fmla="*/ 102329 w 234659"/>
                    <a:gd name="connsiteY3" fmla="*/ 377320 h 397296"/>
                    <a:gd name="connsiteX4" fmla="*/ 132329 w 234659"/>
                    <a:gd name="connsiteY4" fmla="*/ 377320 h 397296"/>
                    <a:gd name="connsiteX5" fmla="*/ 135329 w 234659"/>
                    <a:gd name="connsiteY5" fmla="*/ 374320 h 397296"/>
                    <a:gd name="connsiteX6" fmla="*/ 135329 w 234659"/>
                    <a:gd name="connsiteY6" fmla="*/ 362320 h 397296"/>
                    <a:gd name="connsiteX7" fmla="*/ 132329 w 234659"/>
                    <a:gd name="connsiteY7" fmla="*/ 359320 h 397296"/>
                    <a:gd name="connsiteX8" fmla="*/ 29777 w 234659"/>
                    <a:gd name="connsiteY8" fmla="*/ 57150 h 397296"/>
                    <a:gd name="connsiteX9" fmla="*/ 18507 w 234659"/>
                    <a:gd name="connsiteY9" fmla="*/ 68420 h 397296"/>
                    <a:gd name="connsiteX10" fmla="*/ 18507 w 234659"/>
                    <a:gd name="connsiteY10" fmla="*/ 334012 h 397296"/>
                    <a:gd name="connsiteX11" fmla="*/ 29777 w 234659"/>
                    <a:gd name="connsiteY11" fmla="*/ 345282 h 397296"/>
                    <a:gd name="connsiteX12" fmla="*/ 204882 w 234659"/>
                    <a:gd name="connsiteY12" fmla="*/ 345282 h 397296"/>
                    <a:gd name="connsiteX13" fmla="*/ 216152 w 234659"/>
                    <a:gd name="connsiteY13" fmla="*/ 334012 h 397296"/>
                    <a:gd name="connsiteX14" fmla="*/ 216152 w 234659"/>
                    <a:gd name="connsiteY14" fmla="*/ 68420 h 397296"/>
                    <a:gd name="connsiteX15" fmla="*/ 204882 w 234659"/>
                    <a:gd name="connsiteY15" fmla="*/ 57150 h 397296"/>
                    <a:gd name="connsiteX16" fmla="*/ 38824 w 234659"/>
                    <a:gd name="connsiteY16" fmla="*/ 0 h 397296"/>
                    <a:gd name="connsiteX17" fmla="*/ 195835 w 234659"/>
                    <a:gd name="connsiteY17" fmla="*/ 0 h 397296"/>
                    <a:gd name="connsiteX18" fmla="*/ 234659 w 234659"/>
                    <a:gd name="connsiteY18" fmla="*/ 38824 h 397296"/>
                    <a:gd name="connsiteX19" fmla="*/ 234659 w 234659"/>
                    <a:gd name="connsiteY19" fmla="*/ 358472 h 397296"/>
                    <a:gd name="connsiteX20" fmla="*/ 195835 w 234659"/>
                    <a:gd name="connsiteY20" fmla="*/ 397296 h 397296"/>
                    <a:gd name="connsiteX21" fmla="*/ 38824 w 234659"/>
                    <a:gd name="connsiteY21" fmla="*/ 397296 h 397296"/>
                    <a:gd name="connsiteX22" fmla="*/ 0 w 234659"/>
                    <a:gd name="connsiteY22" fmla="*/ 358472 h 397296"/>
                    <a:gd name="connsiteX23" fmla="*/ 0 w 234659"/>
                    <a:gd name="connsiteY23" fmla="*/ 38824 h 397296"/>
                    <a:gd name="connsiteX24" fmla="*/ 38824 w 234659"/>
                    <a:gd name="connsiteY24" fmla="*/ 0 h 3972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234659" h="397296">
                      <a:moveTo>
                        <a:pt x="102329" y="359320"/>
                      </a:moveTo>
                      <a:cubicBezTo>
                        <a:pt x="100672" y="359320"/>
                        <a:pt x="99329" y="360663"/>
                        <a:pt x="99329" y="362320"/>
                      </a:cubicBezTo>
                      <a:lnTo>
                        <a:pt x="99329" y="374320"/>
                      </a:lnTo>
                      <a:cubicBezTo>
                        <a:pt x="99329" y="375977"/>
                        <a:pt x="100672" y="377320"/>
                        <a:pt x="102329" y="377320"/>
                      </a:cubicBezTo>
                      <a:lnTo>
                        <a:pt x="132329" y="377320"/>
                      </a:lnTo>
                      <a:cubicBezTo>
                        <a:pt x="133986" y="377320"/>
                        <a:pt x="135329" y="375977"/>
                        <a:pt x="135329" y="374320"/>
                      </a:cubicBezTo>
                      <a:lnTo>
                        <a:pt x="135329" y="362320"/>
                      </a:lnTo>
                      <a:cubicBezTo>
                        <a:pt x="135329" y="360663"/>
                        <a:pt x="133986" y="359320"/>
                        <a:pt x="132329" y="359320"/>
                      </a:cubicBezTo>
                      <a:close/>
                      <a:moveTo>
                        <a:pt x="29777" y="57150"/>
                      </a:moveTo>
                      <a:cubicBezTo>
                        <a:pt x="23553" y="57150"/>
                        <a:pt x="18507" y="62196"/>
                        <a:pt x="18507" y="68420"/>
                      </a:cubicBezTo>
                      <a:lnTo>
                        <a:pt x="18507" y="334012"/>
                      </a:lnTo>
                      <a:cubicBezTo>
                        <a:pt x="18507" y="340236"/>
                        <a:pt x="23553" y="345282"/>
                        <a:pt x="29777" y="345282"/>
                      </a:cubicBezTo>
                      <a:lnTo>
                        <a:pt x="204882" y="345282"/>
                      </a:lnTo>
                      <a:cubicBezTo>
                        <a:pt x="211106" y="345282"/>
                        <a:pt x="216152" y="340236"/>
                        <a:pt x="216152" y="334012"/>
                      </a:cubicBezTo>
                      <a:lnTo>
                        <a:pt x="216152" y="68420"/>
                      </a:lnTo>
                      <a:cubicBezTo>
                        <a:pt x="216152" y="62196"/>
                        <a:pt x="211106" y="57150"/>
                        <a:pt x="204882" y="57150"/>
                      </a:cubicBezTo>
                      <a:close/>
                      <a:moveTo>
                        <a:pt x="38824" y="0"/>
                      </a:moveTo>
                      <a:lnTo>
                        <a:pt x="195835" y="0"/>
                      </a:lnTo>
                      <a:cubicBezTo>
                        <a:pt x="217277" y="0"/>
                        <a:pt x="234659" y="17382"/>
                        <a:pt x="234659" y="38824"/>
                      </a:cubicBezTo>
                      <a:lnTo>
                        <a:pt x="234659" y="358472"/>
                      </a:lnTo>
                      <a:cubicBezTo>
                        <a:pt x="234659" y="379914"/>
                        <a:pt x="217277" y="397296"/>
                        <a:pt x="195835" y="397296"/>
                      </a:cubicBezTo>
                      <a:lnTo>
                        <a:pt x="38824" y="397296"/>
                      </a:lnTo>
                      <a:cubicBezTo>
                        <a:pt x="17382" y="397296"/>
                        <a:pt x="0" y="379914"/>
                        <a:pt x="0" y="358472"/>
                      </a:cubicBezTo>
                      <a:lnTo>
                        <a:pt x="0" y="38824"/>
                      </a:lnTo>
                      <a:cubicBezTo>
                        <a:pt x="0" y="17382"/>
                        <a:pt x="17382" y="0"/>
                        <a:pt x="38824" y="0"/>
                      </a:cubicBez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dirty="0"/>
                </a:p>
              </p:txBody>
            </p:sp>
            <p:sp>
              <p:nvSpPr>
                <p:cNvPr id="179" name="Rechteck 178">
                  <a:extLst>
                    <a:ext uri="{FF2B5EF4-FFF2-40B4-BE49-F238E27FC236}">
                      <a16:creationId xmlns:a16="http://schemas.microsoft.com/office/drawing/2014/main" id="{D8B9DCE5-1A9A-4A26-85F8-D66904109958}"/>
                    </a:ext>
                  </a:extLst>
                </p:cNvPr>
                <p:cNvSpPr/>
                <p:nvPr/>
              </p:nvSpPr>
              <p:spPr>
                <a:xfrm>
                  <a:off x="5169420" y="2465340"/>
                  <a:ext cx="126479" cy="56404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dirty="0"/>
                </a:p>
              </p:txBody>
            </p:sp>
            <p:sp>
              <p:nvSpPr>
                <p:cNvPr id="180" name="Rechteck 179">
                  <a:extLst>
                    <a:ext uri="{FF2B5EF4-FFF2-40B4-BE49-F238E27FC236}">
                      <a16:creationId xmlns:a16="http://schemas.microsoft.com/office/drawing/2014/main" id="{E6974E1D-0A10-4EC8-ACE6-8B1EBDE21257}"/>
                    </a:ext>
                  </a:extLst>
                </p:cNvPr>
                <p:cNvSpPr/>
                <p:nvPr/>
              </p:nvSpPr>
              <p:spPr>
                <a:xfrm>
                  <a:off x="5169420" y="2553502"/>
                  <a:ext cx="126479" cy="56404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dirty="0"/>
                </a:p>
              </p:txBody>
            </p:sp>
            <p:sp>
              <p:nvSpPr>
                <p:cNvPr id="181" name="Rechteck 180">
                  <a:extLst>
                    <a:ext uri="{FF2B5EF4-FFF2-40B4-BE49-F238E27FC236}">
                      <a16:creationId xmlns:a16="http://schemas.microsoft.com/office/drawing/2014/main" id="{EB608EB3-83E9-48F8-A1EF-15EA4A9F143D}"/>
                    </a:ext>
                  </a:extLst>
                </p:cNvPr>
                <p:cNvSpPr/>
                <p:nvPr/>
              </p:nvSpPr>
              <p:spPr>
                <a:xfrm>
                  <a:off x="5169420" y="2641664"/>
                  <a:ext cx="126479" cy="56404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dirty="0"/>
                </a:p>
              </p:txBody>
            </p:sp>
          </p:grpSp>
          <p:sp>
            <p:nvSpPr>
              <p:cNvPr id="141" name="Textfeld 140">
                <a:extLst>
                  <a:ext uri="{FF2B5EF4-FFF2-40B4-BE49-F238E27FC236}">
                    <a16:creationId xmlns:a16="http://schemas.microsoft.com/office/drawing/2014/main" id="{237E8F88-00CD-4D3C-B056-5DC8E505F0D2}"/>
                  </a:ext>
                </a:extLst>
              </p:cNvPr>
              <p:cNvSpPr txBox="1"/>
              <p:nvPr/>
            </p:nvSpPr>
            <p:spPr>
              <a:xfrm>
                <a:off x="2758544" y="6021288"/>
                <a:ext cx="491093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GB" sz="900" b="1" dirty="0">
                    <a:solidFill>
                      <a:srgbClr val="404040"/>
                    </a:solidFill>
                    <a:latin typeface="+mj-lt"/>
                  </a:rPr>
                  <a:t>Internet/</a:t>
                </a:r>
                <a:br>
                  <a:rPr lang="en-GB" sz="900" b="1" dirty="0">
                    <a:solidFill>
                      <a:srgbClr val="404040"/>
                    </a:solidFill>
                    <a:latin typeface="+mj-lt"/>
                  </a:rPr>
                </a:br>
                <a:r>
                  <a:rPr lang="en-GB" sz="900" b="1" dirty="0">
                    <a:solidFill>
                      <a:srgbClr val="404040"/>
                    </a:solidFill>
                    <a:latin typeface="+mj-lt"/>
                  </a:rPr>
                  <a:t>Digital</a:t>
                </a:r>
              </a:p>
            </p:txBody>
          </p:sp>
        </p:grpSp>
        <p:pic>
          <p:nvPicPr>
            <p:cNvPr id="139" name="Grafik 138">
              <a:extLst>
                <a:ext uri="{FF2B5EF4-FFF2-40B4-BE49-F238E27FC236}">
                  <a16:creationId xmlns:a16="http://schemas.microsoft.com/office/drawing/2014/main" id="{3F1DC0A6-89EE-4691-BF14-F0186FE9B767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duotone>
                <a:prstClr val="black"/>
                <a:srgbClr val="DA1838">
                  <a:tint val="45000"/>
                  <a:satMod val="400000"/>
                </a:srgbClr>
              </a:duotone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219388" y="6009882"/>
              <a:ext cx="510793" cy="299493"/>
            </a:xfrm>
            <a:prstGeom prst="rect">
              <a:avLst/>
            </a:prstGeom>
          </p:spPr>
        </p:pic>
      </p:grpSp>
      <p:grpSp>
        <p:nvGrpSpPr>
          <p:cNvPr id="61" name="Gruppieren 60">
            <a:extLst>
              <a:ext uri="{FF2B5EF4-FFF2-40B4-BE49-F238E27FC236}">
                <a16:creationId xmlns:a16="http://schemas.microsoft.com/office/drawing/2014/main" id="{17330018-2F01-4BEC-A1F5-6EE7D59601C2}"/>
              </a:ext>
            </a:extLst>
          </p:cNvPr>
          <p:cNvGrpSpPr/>
          <p:nvPr/>
        </p:nvGrpSpPr>
        <p:grpSpPr>
          <a:xfrm>
            <a:off x="7675081" y="3249286"/>
            <a:ext cx="360000" cy="1480978"/>
            <a:chOff x="7670170" y="3245418"/>
            <a:chExt cx="360000" cy="1480978"/>
          </a:xfrm>
        </p:grpSpPr>
        <p:sp>
          <p:nvSpPr>
            <p:cNvPr id="62" name="Textfeld 61">
              <a:extLst>
                <a:ext uri="{FF2B5EF4-FFF2-40B4-BE49-F238E27FC236}">
                  <a16:creationId xmlns:a16="http://schemas.microsoft.com/office/drawing/2014/main" id="{ABBC8CAB-5DA3-4EC6-BA69-A573B91E8B12}"/>
                </a:ext>
              </a:extLst>
            </p:cNvPr>
            <p:cNvSpPr txBox="1"/>
            <p:nvPr/>
          </p:nvSpPr>
          <p:spPr>
            <a:xfrm>
              <a:off x="7670170" y="4530582"/>
              <a:ext cx="360000" cy="19581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en-GB" sz="800" dirty="0">
                  <a:solidFill>
                    <a:srgbClr val="F2B800"/>
                  </a:solidFill>
                </a:rPr>
                <a:t>± 3.3</a:t>
              </a:r>
            </a:p>
          </p:txBody>
        </p:sp>
        <p:sp>
          <p:nvSpPr>
            <p:cNvPr id="63" name="Textfeld 62">
              <a:extLst>
                <a:ext uri="{FF2B5EF4-FFF2-40B4-BE49-F238E27FC236}">
                  <a16:creationId xmlns:a16="http://schemas.microsoft.com/office/drawing/2014/main" id="{804E9E30-0D48-48E9-BF8B-F304D024AAEC}"/>
                </a:ext>
              </a:extLst>
            </p:cNvPr>
            <p:cNvSpPr txBox="1"/>
            <p:nvPr/>
          </p:nvSpPr>
          <p:spPr>
            <a:xfrm>
              <a:off x="7670170" y="3951104"/>
              <a:ext cx="360000" cy="19581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en-GB" sz="800" dirty="0">
                  <a:solidFill>
                    <a:srgbClr val="F2B800"/>
                  </a:solidFill>
                </a:rPr>
                <a:t>± 3.5</a:t>
              </a:r>
            </a:p>
          </p:txBody>
        </p:sp>
        <p:sp>
          <p:nvSpPr>
            <p:cNvPr id="65" name="Textfeld 64">
              <a:extLst>
                <a:ext uri="{FF2B5EF4-FFF2-40B4-BE49-F238E27FC236}">
                  <a16:creationId xmlns:a16="http://schemas.microsoft.com/office/drawing/2014/main" id="{F6F4FC59-3F4E-4D1D-9F5E-931CDF6F5D94}"/>
                </a:ext>
              </a:extLst>
            </p:cNvPr>
            <p:cNvSpPr txBox="1"/>
            <p:nvPr/>
          </p:nvSpPr>
          <p:spPr>
            <a:xfrm>
              <a:off x="7670170" y="3245418"/>
              <a:ext cx="360000" cy="19581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en-GB" sz="800" dirty="0">
                  <a:solidFill>
                    <a:srgbClr val="F2B800"/>
                  </a:solidFill>
                </a:rPr>
                <a:t>± 3.7</a:t>
              </a:r>
            </a:p>
          </p:txBody>
        </p:sp>
      </p:grpSp>
      <p:grpSp>
        <p:nvGrpSpPr>
          <p:cNvPr id="66" name="Gruppieren 65">
            <a:extLst>
              <a:ext uri="{FF2B5EF4-FFF2-40B4-BE49-F238E27FC236}">
                <a16:creationId xmlns:a16="http://schemas.microsoft.com/office/drawing/2014/main" id="{0F2951E8-5DFB-4516-9BAD-7BC0373C584E}"/>
              </a:ext>
            </a:extLst>
          </p:cNvPr>
          <p:cNvGrpSpPr/>
          <p:nvPr/>
        </p:nvGrpSpPr>
        <p:grpSpPr>
          <a:xfrm>
            <a:off x="3885068" y="3143796"/>
            <a:ext cx="360000" cy="1614347"/>
            <a:chOff x="7670170" y="3143796"/>
            <a:chExt cx="360000" cy="1614347"/>
          </a:xfrm>
        </p:grpSpPr>
        <p:sp>
          <p:nvSpPr>
            <p:cNvPr id="67" name="Textfeld 66">
              <a:extLst>
                <a:ext uri="{FF2B5EF4-FFF2-40B4-BE49-F238E27FC236}">
                  <a16:creationId xmlns:a16="http://schemas.microsoft.com/office/drawing/2014/main" id="{7243EA3E-7F41-43F6-8D9A-328A597D68D2}"/>
                </a:ext>
              </a:extLst>
            </p:cNvPr>
            <p:cNvSpPr txBox="1"/>
            <p:nvPr/>
          </p:nvSpPr>
          <p:spPr>
            <a:xfrm>
              <a:off x="7670170" y="4562329"/>
              <a:ext cx="360000" cy="19581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en-GB" sz="800" dirty="0">
                  <a:solidFill>
                    <a:srgbClr val="F2B800"/>
                  </a:solidFill>
                </a:rPr>
                <a:t>± 1.8</a:t>
              </a:r>
            </a:p>
          </p:txBody>
        </p:sp>
        <p:sp>
          <p:nvSpPr>
            <p:cNvPr id="68" name="Textfeld 67">
              <a:extLst>
                <a:ext uri="{FF2B5EF4-FFF2-40B4-BE49-F238E27FC236}">
                  <a16:creationId xmlns:a16="http://schemas.microsoft.com/office/drawing/2014/main" id="{BD8A9003-2B49-4672-8DC2-C116DD943AE9}"/>
                </a:ext>
              </a:extLst>
            </p:cNvPr>
            <p:cNvSpPr txBox="1"/>
            <p:nvPr/>
          </p:nvSpPr>
          <p:spPr>
            <a:xfrm>
              <a:off x="7670170" y="3925088"/>
              <a:ext cx="360000" cy="19581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en-GB" sz="800" dirty="0">
                  <a:solidFill>
                    <a:srgbClr val="F2B800"/>
                  </a:solidFill>
                </a:rPr>
                <a:t>± 2.3</a:t>
              </a:r>
            </a:p>
          </p:txBody>
        </p:sp>
        <p:sp>
          <p:nvSpPr>
            <p:cNvPr id="69" name="Textfeld 68">
              <a:extLst>
                <a:ext uri="{FF2B5EF4-FFF2-40B4-BE49-F238E27FC236}">
                  <a16:creationId xmlns:a16="http://schemas.microsoft.com/office/drawing/2014/main" id="{DF429AE5-F6A7-4125-86CA-4EC001213421}"/>
                </a:ext>
              </a:extLst>
            </p:cNvPr>
            <p:cNvSpPr txBox="1"/>
            <p:nvPr/>
          </p:nvSpPr>
          <p:spPr>
            <a:xfrm>
              <a:off x="7670170" y="3143796"/>
              <a:ext cx="360000" cy="19581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en-GB" sz="800" dirty="0">
                  <a:solidFill>
                    <a:srgbClr val="F2B800"/>
                  </a:solidFill>
                </a:rPr>
                <a:t>± 2.3</a:t>
              </a:r>
            </a:p>
          </p:txBody>
        </p:sp>
      </p:grpSp>
      <p:grpSp>
        <p:nvGrpSpPr>
          <p:cNvPr id="70" name="Gruppieren 69">
            <a:extLst>
              <a:ext uri="{FF2B5EF4-FFF2-40B4-BE49-F238E27FC236}">
                <a16:creationId xmlns:a16="http://schemas.microsoft.com/office/drawing/2014/main" id="{D993B57F-9D53-4911-9E0C-841D8A8E6421}"/>
              </a:ext>
            </a:extLst>
          </p:cNvPr>
          <p:cNvGrpSpPr/>
          <p:nvPr/>
        </p:nvGrpSpPr>
        <p:grpSpPr>
          <a:xfrm>
            <a:off x="11603820" y="3129082"/>
            <a:ext cx="368157" cy="1559032"/>
            <a:chOff x="7670170" y="3129082"/>
            <a:chExt cx="368157" cy="1559032"/>
          </a:xfrm>
        </p:grpSpPr>
        <p:sp>
          <p:nvSpPr>
            <p:cNvPr id="72" name="Textfeld 71">
              <a:extLst>
                <a:ext uri="{FF2B5EF4-FFF2-40B4-BE49-F238E27FC236}">
                  <a16:creationId xmlns:a16="http://schemas.microsoft.com/office/drawing/2014/main" id="{195EAE09-FA25-4A36-8C99-92EEB5B5B067}"/>
                </a:ext>
              </a:extLst>
            </p:cNvPr>
            <p:cNvSpPr txBox="1"/>
            <p:nvPr/>
          </p:nvSpPr>
          <p:spPr>
            <a:xfrm>
              <a:off x="7678327" y="4492300"/>
              <a:ext cx="360000" cy="19581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en-GB" sz="800" dirty="0">
                  <a:solidFill>
                    <a:srgbClr val="F2B800"/>
                  </a:solidFill>
                </a:rPr>
                <a:t>± 5.5</a:t>
              </a:r>
            </a:p>
          </p:txBody>
        </p:sp>
        <p:sp>
          <p:nvSpPr>
            <p:cNvPr id="73" name="Textfeld 72">
              <a:extLst>
                <a:ext uri="{FF2B5EF4-FFF2-40B4-BE49-F238E27FC236}">
                  <a16:creationId xmlns:a16="http://schemas.microsoft.com/office/drawing/2014/main" id="{29918FB6-3B8E-4A9A-9C7C-173CC2CAA0CC}"/>
                </a:ext>
              </a:extLst>
            </p:cNvPr>
            <p:cNvSpPr txBox="1"/>
            <p:nvPr/>
          </p:nvSpPr>
          <p:spPr>
            <a:xfrm>
              <a:off x="7678327" y="3841371"/>
              <a:ext cx="360000" cy="19581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en-GB" sz="800" dirty="0">
                  <a:solidFill>
                    <a:srgbClr val="F2B800"/>
                  </a:solidFill>
                </a:rPr>
                <a:t>± 6.0</a:t>
              </a:r>
            </a:p>
          </p:txBody>
        </p:sp>
        <p:sp>
          <p:nvSpPr>
            <p:cNvPr id="77" name="Textfeld 76">
              <a:extLst>
                <a:ext uri="{FF2B5EF4-FFF2-40B4-BE49-F238E27FC236}">
                  <a16:creationId xmlns:a16="http://schemas.microsoft.com/office/drawing/2014/main" id="{1A1E933D-3918-470A-9330-EC37BD125894}"/>
                </a:ext>
              </a:extLst>
            </p:cNvPr>
            <p:cNvSpPr txBox="1"/>
            <p:nvPr/>
          </p:nvSpPr>
          <p:spPr>
            <a:xfrm>
              <a:off x="7670170" y="3129082"/>
              <a:ext cx="360000" cy="19581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en-GB" sz="800" dirty="0">
                  <a:solidFill>
                    <a:srgbClr val="F2B800"/>
                  </a:solidFill>
                </a:rPr>
                <a:t>± 5.9</a:t>
              </a:r>
            </a:p>
          </p:txBody>
        </p:sp>
      </p:grpSp>
      <p:sp>
        <p:nvSpPr>
          <p:cNvPr id="4" name="Rechteck 3">
            <a:extLst>
              <a:ext uri="{FF2B5EF4-FFF2-40B4-BE49-F238E27FC236}">
                <a16:creationId xmlns:a16="http://schemas.microsoft.com/office/drawing/2014/main" id="{759F5B57-4EFA-0C87-BE9F-068296C672D7}"/>
              </a:ext>
            </a:extLst>
          </p:cNvPr>
          <p:cNvSpPr/>
          <p:nvPr/>
        </p:nvSpPr>
        <p:spPr>
          <a:xfrm>
            <a:off x="6525290" y="6326398"/>
            <a:ext cx="5609214" cy="211203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GB" sz="900" dirty="0">
                <a:solidFill>
                  <a:srgbClr val="F2B800"/>
                </a:solidFill>
                <a:latin typeface="+mj-lt"/>
              </a:rPr>
              <a:t>Sampling error (confidence level = 95%) in percentage points</a:t>
            </a:r>
            <a:endParaRPr lang="en-GB" sz="900" u="sng" dirty="0">
              <a:solidFill>
                <a:srgbClr val="F2B8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74756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78109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8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44" name="Objekt 4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6" name="Rechteck 75" hidden="1">
            <a:extLst>
              <a:ext uri="{FF2B5EF4-FFF2-40B4-BE49-F238E27FC236}">
                <a16:creationId xmlns:a16="http://schemas.microsoft.com/office/drawing/2014/main" id="{152A73C3-12F7-4C67-88F6-E06AD29A580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CH" sz="28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61" name="Ellipse 460">
            <a:extLst>
              <a:ext uri="{FF2B5EF4-FFF2-40B4-BE49-F238E27FC236}">
                <a16:creationId xmlns:a16="http://schemas.microsoft.com/office/drawing/2014/main" id="{105810C9-0BCE-436A-9B5C-405CDAE9F2AF}"/>
              </a:ext>
            </a:extLst>
          </p:cNvPr>
          <p:cNvSpPr/>
          <p:nvPr/>
        </p:nvSpPr>
        <p:spPr>
          <a:xfrm>
            <a:off x="10890812" y="282575"/>
            <a:ext cx="720000" cy="720000"/>
          </a:xfrm>
          <a:prstGeom prst="ellipse">
            <a:avLst/>
          </a:prstGeom>
          <a:gradFill>
            <a:gsLst>
              <a:gs pos="100000">
                <a:srgbClr val="F5A1AF"/>
              </a:gs>
              <a:gs pos="35000">
                <a:srgbClr val="DA1838"/>
              </a:gs>
              <a:gs pos="1000">
                <a:srgbClr val="A2122A"/>
              </a:gs>
              <a:gs pos="65000">
                <a:srgbClr val="EC526C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graphicFrame>
        <p:nvGraphicFramePr>
          <p:cNvPr id="73" name="Diagramm 7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847034"/>
              </p:ext>
            </p:extLst>
          </p:nvPr>
        </p:nvGraphicFramePr>
        <p:xfrm>
          <a:off x="7698730" y="2596257"/>
          <a:ext cx="3888432" cy="36438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71" name="Diagramm 7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8146118"/>
              </p:ext>
            </p:extLst>
          </p:nvPr>
        </p:nvGraphicFramePr>
        <p:xfrm>
          <a:off x="3941367" y="2596257"/>
          <a:ext cx="3888432" cy="36438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69" name="Diagramm 6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94927889"/>
              </p:ext>
            </p:extLst>
          </p:nvPr>
        </p:nvGraphicFramePr>
        <p:xfrm>
          <a:off x="54948" y="2583952"/>
          <a:ext cx="3888432" cy="36561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E18C1E-C518-44FC-8499-CA04C5B7C512}" type="slidenum">
              <a:rPr lang="de-CH" smtClean="0"/>
              <a:t>5</a:t>
            </a:fld>
            <a:endParaRPr lang="de-CH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385267" y="783966"/>
            <a:ext cx="10378636" cy="470898"/>
          </a:xfrm>
        </p:spPr>
        <p:txBody>
          <a:bodyPr/>
          <a:lstStyle/>
          <a:p>
            <a:r>
              <a:rPr lang="de-CH" sz="1700" b="0" dirty="0"/>
              <a:t>Radio </a:t>
            </a:r>
            <a:r>
              <a:rPr lang="de-CH" sz="1700" b="0" dirty="0" err="1"/>
              <a:t>listening</a:t>
            </a:r>
            <a:r>
              <a:rPr lang="de-CH" sz="1700" b="0" dirty="0"/>
              <a:t> via </a:t>
            </a:r>
            <a:r>
              <a:rPr lang="de-CH" sz="1700" b="0" dirty="0" err="1"/>
              <a:t>internet</a:t>
            </a:r>
            <a:r>
              <a:rPr lang="de-CH" sz="1700" b="0" dirty="0"/>
              <a:t> </a:t>
            </a:r>
            <a:r>
              <a:rPr lang="de-CH" sz="1700" b="0" dirty="0" err="1"/>
              <a:t>is</a:t>
            </a:r>
            <a:r>
              <a:rPr lang="de-CH" sz="1700" b="0" dirty="0"/>
              <a:t> </a:t>
            </a:r>
            <a:r>
              <a:rPr lang="de-CH" sz="1700" b="0" dirty="0" err="1"/>
              <a:t>most</a:t>
            </a:r>
            <a:r>
              <a:rPr lang="de-CH" sz="1700" b="0" dirty="0"/>
              <a:t> </a:t>
            </a:r>
            <a:r>
              <a:rPr lang="de-CH" sz="1700" b="0" dirty="0" err="1"/>
              <a:t>popular</a:t>
            </a:r>
            <a:r>
              <a:rPr lang="de-CH" sz="1700" b="0" dirty="0"/>
              <a:t> </a:t>
            </a:r>
            <a:r>
              <a:rPr lang="de-CH" sz="1700" b="0" dirty="0" err="1"/>
              <a:t>among</a:t>
            </a:r>
            <a:r>
              <a:rPr lang="de-CH" sz="1700" b="0" dirty="0"/>
              <a:t> </a:t>
            </a:r>
            <a:r>
              <a:rPr lang="de-CH" sz="1700" b="0" dirty="0" err="1"/>
              <a:t>the</a:t>
            </a:r>
            <a:r>
              <a:rPr lang="de-CH" sz="1700" b="0" dirty="0"/>
              <a:t> </a:t>
            </a:r>
            <a:r>
              <a:rPr lang="de-CH" sz="1700" b="0" dirty="0" err="1"/>
              <a:t>younger</a:t>
            </a:r>
            <a:r>
              <a:rPr lang="de-CH" sz="1700" b="0" dirty="0"/>
              <a:t> </a:t>
            </a:r>
            <a:r>
              <a:rPr lang="de-CH" sz="1700" b="0" dirty="0" err="1"/>
              <a:t>two</a:t>
            </a:r>
            <a:r>
              <a:rPr lang="de-CH" sz="1700" b="0" dirty="0"/>
              <a:t> </a:t>
            </a:r>
            <a:r>
              <a:rPr lang="de-CH" sz="1700" b="0" dirty="0" err="1"/>
              <a:t>age</a:t>
            </a:r>
            <a:r>
              <a:rPr lang="de-CH" sz="1700" b="0" dirty="0"/>
              <a:t> </a:t>
            </a:r>
            <a:r>
              <a:rPr lang="de-CH" sz="1700" b="0" dirty="0" err="1"/>
              <a:t>groups</a:t>
            </a:r>
            <a:r>
              <a:rPr lang="de-CH" sz="1700" b="0" dirty="0"/>
              <a:t>. </a:t>
            </a:r>
            <a:r>
              <a:rPr lang="de-CH" sz="1700" b="0" dirty="0" err="1"/>
              <a:t>Among</a:t>
            </a:r>
            <a:r>
              <a:rPr lang="de-CH" sz="1700" b="0" dirty="0"/>
              <a:t> </a:t>
            </a:r>
            <a:r>
              <a:rPr lang="de-CH" sz="1700" b="0" dirty="0" err="1"/>
              <a:t>the</a:t>
            </a:r>
            <a:r>
              <a:rPr lang="de-CH" sz="1700" b="0" dirty="0"/>
              <a:t> 55+ </a:t>
            </a:r>
            <a:r>
              <a:rPr lang="de-CH" sz="1700" b="0" dirty="0" err="1"/>
              <a:t>age</a:t>
            </a:r>
            <a:r>
              <a:rPr lang="de-CH" sz="1700" b="0" dirty="0"/>
              <a:t> </a:t>
            </a:r>
            <a:r>
              <a:rPr lang="de-CH" sz="1700" b="0" dirty="0" err="1"/>
              <a:t>group</a:t>
            </a:r>
            <a:r>
              <a:rPr lang="de-CH" sz="1700" b="0" dirty="0"/>
              <a:t>, DAB+ </a:t>
            </a:r>
            <a:r>
              <a:rPr lang="de-CH" sz="1700" b="0" dirty="0" err="1"/>
              <a:t>is</a:t>
            </a:r>
            <a:r>
              <a:rPr lang="de-CH" sz="1700" b="0" dirty="0"/>
              <a:t> </a:t>
            </a:r>
            <a:r>
              <a:rPr lang="de-CH" sz="1700" b="0" dirty="0" err="1"/>
              <a:t>the</a:t>
            </a:r>
            <a:r>
              <a:rPr lang="de-CH" sz="1700" b="0" dirty="0"/>
              <a:t> </a:t>
            </a:r>
            <a:r>
              <a:rPr lang="de-CH" sz="1700" b="0" dirty="0" err="1"/>
              <a:t>most</a:t>
            </a:r>
            <a:r>
              <a:rPr lang="de-CH" sz="1700" b="0" dirty="0"/>
              <a:t> </a:t>
            </a:r>
            <a:r>
              <a:rPr lang="de-CH" sz="1700" b="0" dirty="0" err="1"/>
              <a:t>popular</a:t>
            </a:r>
            <a:r>
              <a:rPr lang="de-CH" sz="1700" b="0" dirty="0"/>
              <a:t> </a:t>
            </a:r>
            <a:r>
              <a:rPr lang="de-CH" sz="1700" b="0" dirty="0" err="1"/>
              <a:t>mode</a:t>
            </a:r>
            <a:r>
              <a:rPr lang="de-CH" sz="1700" b="0" dirty="0"/>
              <a:t> </a:t>
            </a:r>
            <a:r>
              <a:rPr lang="de-CH" sz="1700" b="0" dirty="0" err="1"/>
              <a:t>of</a:t>
            </a:r>
            <a:r>
              <a:rPr lang="de-CH" sz="1700" b="0" dirty="0"/>
              <a:t> </a:t>
            </a:r>
            <a:r>
              <a:rPr lang="de-CH" sz="1700" b="0" dirty="0" err="1"/>
              <a:t>radio</a:t>
            </a:r>
            <a:r>
              <a:rPr lang="de-CH" sz="1700" b="0" dirty="0"/>
              <a:t> </a:t>
            </a:r>
            <a:r>
              <a:rPr lang="de-CH" sz="1700" b="0" dirty="0" err="1"/>
              <a:t>reception</a:t>
            </a:r>
            <a:r>
              <a:rPr lang="de-CH" sz="1700" b="0" dirty="0"/>
              <a:t> at 44%.</a:t>
            </a:r>
          </a:p>
        </p:txBody>
      </p:sp>
      <p:sp>
        <p:nvSpPr>
          <p:cNvPr id="6" name="Rechteck 5"/>
          <p:cNvSpPr/>
          <p:nvPr/>
        </p:nvSpPr>
        <p:spPr>
          <a:xfrm>
            <a:off x="8964459" y="2204094"/>
            <a:ext cx="167738" cy="5292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33" name="Textfeld 32"/>
          <p:cNvSpPr txBox="1"/>
          <p:nvPr/>
        </p:nvSpPr>
        <p:spPr>
          <a:xfrm>
            <a:off x="371474" y="6367066"/>
            <a:ext cx="1135291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ource: GfK Switzerland, </a:t>
            </a:r>
            <a:r>
              <a:rPr lang="de-CH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DigiMig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urvey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, n(2023/2)=2’725; (n[15-34, 2023/2]=612, n[35-54, 2023/2]=978, n[55+, 2023/2]=1’135) </a:t>
            </a:r>
          </a:p>
        </p:txBody>
      </p:sp>
      <p:sp>
        <p:nvSpPr>
          <p:cNvPr id="36" name="Inhaltsplatzhalter 5"/>
          <p:cNvSpPr txBox="1">
            <a:spLocks/>
          </p:cNvSpPr>
          <p:nvPr/>
        </p:nvSpPr>
        <p:spPr>
          <a:xfrm>
            <a:off x="371475" y="1364643"/>
            <a:ext cx="11327356" cy="1938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adio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us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(in per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cent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)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y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od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of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reception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and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ag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group</a:t>
            </a:r>
            <a:endParaRPr lang="de-CH" sz="1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43" name="Gruppieren 42"/>
          <p:cNvGrpSpPr/>
          <p:nvPr/>
        </p:nvGrpSpPr>
        <p:grpSpPr>
          <a:xfrm>
            <a:off x="11025014" y="413987"/>
            <a:ext cx="424629" cy="401261"/>
            <a:chOff x="10978877" y="392945"/>
            <a:chExt cx="542696" cy="512830"/>
          </a:xfrm>
        </p:grpSpPr>
        <p:sp>
          <p:nvSpPr>
            <p:cNvPr id="14" name="Freeform 6"/>
            <p:cNvSpPr>
              <a:spLocks/>
            </p:cNvSpPr>
            <p:nvPr/>
          </p:nvSpPr>
          <p:spPr bwMode="auto">
            <a:xfrm>
              <a:off x="11060133" y="400748"/>
              <a:ext cx="98476" cy="72377"/>
            </a:xfrm>
            <a:custGeom>
              <a:avLst/>
              <a:gdLst>
                <a:gd name="T0" fmla="*/ 86 w 155"/>
                <a:gd name="T1" fmla="*/ 0 h 114"/>
                <a:gd name="T2" fmla="*/ 110 w 155"/>
                <a:gd name="T3" fmla="*/ 114 h 114"/>
                <a:gd name="T4" fmla="*/ 83 w 155"/>
                <a:gd name="T5" fmla="*/ 69 h 114"/>
                <a:gd name="T6" fmla="*/ 62 w 155"/>
                <a:gd name="T7" fmla="*/ 114 h 114"/>
                <a:gd name="T8" fmla="*/ 77 w 155"/>
                <a:gd name="T9" fmla="*/ 0 h 114"/>
                <a:gd name="T10" fmla="*/ 82 w 155"/>
                <a:gd name="T11" fmla="*/ 2 h 114"/>
                <a:gd name="T12" fmla="*/ 86 w 155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5" h="114">
                  <a:moveTo>
                    <a:pt x="86" y="0"/>
                  </a:moveTo>
                  <a:cubicBezTo>
                    <a:pt x="101" y="28"/>
                    <a:pt x="155" y="83"/>
                    <a:pt x="110" y="114"/>
                  </a:cubicBezTo>
                  <a:cubicBezTo>
                    <a:pt x="95" y="105"/>
                    <a:pt x="94" y="82"/>
                    <a:pt x="83" y="69"/>
                  </a:cubicBezTo>
                  <a:cubicBezTo>
                    <a:pt x="75" y="83"/>
                    <a:pt x="62" y="92"/>
                    <a:pt x="62" y="114"/>
                  </a:cubicBezTo>
                  <a:cubicBezTo>
                    <a:pt x="0" y="103"/>
                    <a:pt x="63" y="28"/>
                    <a:pt x="77" y="0"/>
                  </a:cubicBezTo>
                  <a:cubicBezTo>
                    <a:pt x="82" y="2"/>
                    <a:pt x="82" y="2"/>
                    <a:pt x="82" y="2"/>
                  </a:cubicBezTo>
                  <a:lnTo>
                    <a:pt x="8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  <p:sp>
          <p:nvSpPr>
            <p:cNvPr id="15" name="Freeform 7"/>
            <p:cNvSpPr>
              <a:spLocks/>
            </p:cNvSpPr>
            <p:nvPr/>
          </p:nvSpPr>
          <p:spPr bwMode="auto">
            <a:xfrm>
              <a:off x="11351795" y="400748"/>
              <a:ext cx="98745" cy="72377"/>
            </a:xfrm>
            <a:custGeom>
              <a:avLst/>
              <a:gdLst>
                <a:gd name="T0" fmla="*/ 86 w 155"/>
                <a:gd name="T1" fmla="*/ 0 h 114"/>
                <a:gd name="T2" fmla="*/ 110 w 155"/>
                <a:gd name="T3" fmla="*/ 114 h 114"/>
                <a:gd name="T4" fmla="*/ 83 w 155"/>
                <a:gd name="T5" fmla="*/ 69 h 114"/>
                <a:gd name="T6" fmla="*/ 62 w 155"/>
                <a:gd name="T7" fmla="*/ 114 h 114"/>
                <a:gd name="T8" fmla="*/ 77 w 155"/>
                <a:gd name="T9" fmla="*/ 0 h 114"/>
                <a:gd name="T10" fmla="*/ 82 w 155"/>
                <a:gd name="T11" fmla="*/ 2 h 114"/>
                <a:gd name="T12" fmla="*/ 86 w 155"/>
                <a:gd name="T1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5" h="114">
                  <a:moveTo>
                    <a:pt x="86" y="0"/>
                  </a:moveTo>
                  <a:cubicBezTo>
                    <a:pt x="101" y="28"/>
                    <a:pt x="155" y="83"/>
                    <a:pt x="110" y="114"/>
                  </a:cubicBezTo>
                  <a:cubicBezTo>
                    <a:pt x="96" y="105"/>
                    <a:pt x="94" y="82"/>
                    <a:pt x="83" y="69"/>
                  </a:cubicBezTo>
                  <a:cubicBezTo>
                    <a:pt x="74" y="82"/>
                    <a:pt x="63" y="93"/>
                    <a:pt x="62" y="114"/>
                  </a:cubicBezTo>
                  <a:cubicBezTo>
                    <a:pt x="0" y="103"/>
                    <a:pt x="63" y="27"/>
                    <a:pt x="77" y="0"/>
                  </a:cubicBezTo>
                  <a:cubicBezTo>
                    <a:pt x="82" y="2"/>
                    <a:pt x="82" y="2"/>
                    <a:pt x="82" y="2"/>
                  </a:cubicBezTo>
                  <a:lnTo>
                    <a:pt x="8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  <p:sp>
          <p:nvSpPr>
            <p:cNvPr id="16" name="Freeform 8"/>
            <p:cNvSpPr>
              <a:spLocks/>
            </p:cNvSpPr>
            <p:nvPr/>
          </p:nvSpPr>
          <p:spPr bwMode="auto">
            <a:xfrm>
              <a:off x="11205157" y="392945"/>
              <a:ext cx="85023" cy="80718"/>
            </a:xfrm>
            <a:custGeom>
              <a:avLst/>
              <a:gdLst>
                <a:gd name="T0" fmla="*/ 83 w 134"/>
                <a:gd name="T1" fmla="*/ 0 h 127"/>
                <a:gd name="T2" fmla="*/ 131 w 134"/>
                <a:gd name="T3" fmla="*/ 99 h 127"/>
                <a:gd name="T4" fmla="*/ 104 w 134"/>
                <a:gd name="T5" fmla="*/ 126 h 127"/>
                <a:gd name="T6" fmla="*/ 86 w 134"/>
                <a:gd name="T7" fmla="*/ 81 h 127"/>
                <a:gd name="T8" fmla="*/ 62 w 134"/>
                <a:gd name="T9" fmla="*/ 126 h 127"/>
                <a:gd name="T10" fmla="*/ 83 w 134"/>
                <a:gd name="T11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4" h="127">
                  <a:moveTo>
                    <a:pt x="83" y="0"/>
                  </a:moveTo>
                  <a:cubicBezTo>
                    <a:pt x="89" y="27"/>
                    <a:pt x="134" y="66"/>
                    <a:pt x="131" y="99"/>
                  </a:cubicBezTo>
                  <a:cubicBezTo>
                    <a:pt x="130" y="110"/>
                    <a:pt x="124" y="127"/>
                    <a:pt x="104" y="126"/>
                  </a:cubicBezTo>
                  <a:cubicBezTo>
                    <a:pt x="105" y="104"/>
                    <a:pt x="89" y="99"/>
                    <a:pt x="86" y="81"/>
                  </a:cubicBezTo>
                  <a:cubicBezTo>
                    <a:pt x="74" y="92"/>
                    <a:pt x="67" y="108"/>
                    <a:pt x="62" y="126"/>
                  </a:cubicBezTo>
                  <a:cubicBezTo>
                    <a:pt x="0" y="111"/>
                    <a:pt x="73" y="31"/>
                    <a:pt x="8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  <p:sp>
          <p:nvSpPr>
            <p:cNvPr id="17" name="Freeform 9"/>
            <p:cNvSpPr>
              <a:spLocks/>
            </p:cNvSpPr>
            <p:nvPr/>
          </p:nvSpPr>
          <p:spPr bwMode="auto">
            <a:xfrm>
              <a:off x="11020850" y="486578"/>
              <a:ext cx="463323" cy="255339"/>
            </a:xfrm>
            <a:custGeom>
              <a:avLst/>
              <a:gdLst>
                <a:gd name="T0" fmla="*/ 166 w 729"/>
                <a:gd name="T1" fmla="*/ 0 h 402"/>
                <a:gd name="T2" fmla="*/ 166 w 729"/>
                <a:gd name="T3" fmla="*/ 135 h 402"/>
                <a:gd name="T4" fmla="*/ 352 w 729"/>
                <a:gd name="T5" fmla="*/ 138 h 402"/>
                <a:gd name="T6" fmla="*/ 352 w 729"/>
                <a:gd name="T7" fmla="*/ 0 h 402"/>
                <a:gd name="T8" fmla="*/ 394 w 729"/>
                <a:gd name="T9" fmla="*/ 0 h 402"/>
                <a:gd name="T10" fmla="*/ 394 w 729"/>
                <a:gd name="T11" fmla="*/ 138 h 402"/>
                <a:gd name="T12" fmla="*/ 583 w 729"/>
                <a:gd name="T13" fmla="*/ 138 h 402"/>
                <a:gd name="T14" fmla="*/ 583 w 729"/>
                <a:gd name="T15" fmla="*/ 0 h 402"/>
                <a:gd name="T16" fmla="*/ 625 w 729"/>
                <a:gd name="T17" fmla="*/ 0 h 402"/>
                <a:gd name="T18" fmla="*/ 625 w 729"/>
                <a:gd name="T19" fmla="*/ 138 h 402"/>
                <a:gd name="T20" fmla="*/ 706 w 729"/>
                <a:gd name="T21" fmla="*/ 150 h 402"/>
                <a:gd name="T22" fmla="*/ 721 w 729"/>
                <a:gd name="T23" fmla="*/ 267 h 402"/>
                <a:gd name="T24" fmla="*/ 646 w 729"/>
                <a:gd name="T25" fmla="*/ 342 h 402"/>
                <a:gd name="T26" fmla="*/ 478 w 729"/>
                <a:gd name="T27" fmla="*/ 246 h 402"/>
                <a:gd name="T28" fmla="*/ 424 w 729"/>
                <a:gd name="T29" fmla="*/ 297 h 402"/>
                <a:gd name="T30" fmla="*/ 367 w 729"/>
                <a:gd name="T31" fmla="*/ 342 h 402"/>
                <a:gd name="T32" fmla="*/ 196 w 729"/>
                <a:gd name="T33" fmla="*/ 246 h 402"/>
                <a:gd name="T34" fmla="*/ 37 w 729"/>
                <a:gd name="T35" fmla="*/ 315 h 402"/>
                <a:gd name="T36" fmla="*/ 7 w 729"/>
                <a:gd name="T37" fmla="*/ 270 h 402"/>
                <a:gd name="T38" fmla="*/ 13 w 729"/>
                <a:gd name="T39" fmla="*/ 159 h 402"/>
                <a:gd name="T40" fmla="*/ 121 w 729"/>
                <a:gd name="T41" fmla="*/ 138 h 402"/>
                <a:gd name="T42" fmla="*/ 124 w 729"/>
                <a:gd name="T43" fmla="*/ 0 h 402"/>
                <a:gd name="T44" fmla="*/ 166 w 729"/>
                <a:gd name="T45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29" h="402">
                  <a:moveTo>
                    <a:pt x="166" y="0"/>
                  </a:moveTo>
                  <a:cubicBezTo>
                    <a:pt x="166" y="45"/>
                    <a:pt x="166" y="90"/>
                    <a:pt x="166" y="135"/>
                  </a:cubicBezTo>
                  <a:cubicBezTo>
                    <a:pt x="222" y="142"/>
                    <a:pt x="291" y="136"/>
                    <a:pt x="352" y="138"/>
                  </a:cubicBezTo>
                  <a:cubicBezTo>
                    <a:pt x="352" y="92"/>
                    <a:pt x="352" y="46"/>
                    <a:pt x="352" y="0"/>
                  </a:cubicBezTo>
                  <a:cubicBezTo>
                    <a:pt x="366" y="0"/>
                    <a:pt x="380" y="0"/>
                    <a:pt x="394" y="0"/>
                  </a:cubicBezTo>
                  <a:cubicBezTo>
                    <a:pt x="394" y="46"/>
                    <a:pt x="394" y="92"/>
                    <a:pt x="394" y="138"/>
                  </a:cubicBezTo>
                  <a:cubicBezTo>
                    <a:pt x="457" y="138"/>
                    <a:pt x="520" y="138"/>
                    <a:pt x="583" y="138"/>
                  </a:cubicBezTo>
                  <a:cubicBezTo>
                    <a:pt x="583" y="92"/>
                    <a:pt x="583" y="46"/>
                    <a:pt x="583" y="0"/>
                  </a:cubicBezTo>
                  <a:cubicBezTo>
                    <a:pt x="597" y="0"/>
                    <a:pt x="611" y="0"/>
                    <a:pt x="625" y="0"/>
                  </a:cubicBezTo>
                  <a:cubicBezTo>
                    <a:pt x="625" y="46"/>
                    <a:pt x="625" y="92"/>
                    <a:pt x="625" y="138"/>
                  </a:cubicBezTo>
                  <a:cubicBezTo>
                    <a:pt x="661" y="140"/>
                    <a:pt x="686" y="133"/>
                    <a:pt x="706" y="150"/>
                  </a:cubicBezTo>
                  <a:cubicBezTo>
                    <a:pt x="727" y="168"/>
                    <a:pt x="729" y="231"/>
                    <a:pt x="721" y="267"/>
                  </a:cubicBezTo>
                  <a:cubicBezTo>
                    <a:pt x="716" y="292"/>
                    <a:pt x="673" y="341"/>
                    <a:pt x="646" y="342"/>
                  </a:cubicBezTo>
                  <a:cubicBezTo>
                    <a:pt x="576" y="345"/>
                    <a:pt x="577" y="214"/>
                    <a:pt x="478" y="246"/>
                  </a:cubicBezTo>
                  <a:cubicBezTo>
                    <a:pt x="454" y="254"/>
                    <a:pt x="441" y="275"/>
                    <a:pt x="424" y="297"/>
                  </a:cubicBezTo>
                  <a:cubicBezTo>
                    <a:pt x="408" y="319"/>
                    <a:pt x="391" y="341"/>
                    <a:pt x="367" y="342"/>
                  </a:cubicBezTo>
                  <a:cubicBezTo>
                    <a:pt x="299" y="345"/>
                    <a:pt x="293" y="214"/>
                    <a:pt x="196" y="246"/>
                  </a:cubicBezTo>
                  <a:cubicBezTo>
                    <a:pt x="136" y="266"/>
                    <a:pt x="111" y="402"/>
                    <a:pt x="37" y="315"/>
                  </a:cubicBezTo>
                  <a:cubicBezTo>
                    <a:pt x="28" y="304"/>
                    <a:pt x="10" y="283"/>
                    <a:pt x="7" y="270"/>
                  </a:cubicBezTo>
                  <a:cubicBezTo>
                    <a:pt x="0" y="241"/>
                    <a:pt x="2" y="178"/>
                    <a:pt x="13" y="159"/>
                  </a:cubicBezTo>
                  <a:cubicBezTo>
                    <a:pt x="33" y="126"/>
                    <a:pt x="75" y="143"/>
                    <a:pt x="121" y="138"/>
                  </a:cubicBezTo>
                  <a:cubicBezTo>
                    <a:pt x="128" y="98"/>
                    <a:pt x="122" y="45"/>
                    <a:pt x="124" y="0"/>
                  </a:cubicBezTo>
                  <a:cubicBezTo>
                    <a:pt x="138" y="0"/>
                    <a:pt x="152" y="0"/>
                    <a:pt x="16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  <p:sp>
          <p:nvSpPr>
            <p:cNvPr id="18" name="Freeform 10"/>
            <p:cNvSpPr>
              <a:spLocks noEditPoints="1"/>
            </p:cNvSpPr>
            <p:nvPr/>
          </p:nvSpPr>
          <p:spPr bwMode="auto">
            <a:xfrm>
              <a:off x="11022734" y="648015"/>
              <a:ext cx="458749" cy="164396"/>
            </a:xfrm>
            <a:custGeom>
              <a:avLst/>
              <a:gdLst>
                <a:gd name="T0" fmla="*/ 718 w 722"/>
                <a:gd name="T1" fmla="*/ 76 h 259"/>
                <a:gd name="T2" fmla="*/ 715 w 722"/>
                <a:gd name="T3" fmla="*/ 259 h 259"/>
                <a:gd name="T4" fmla="*/ 7 w 722"/>
                <a:gd name="T5" fmla="*/ 259 h 259"/>
                <a:gd name="T6" fmla="*/ 4 w 722"/>
                <a:gd name="T7" fmla="*/ 79 h 259"/>
                <a:gd name="T8" fmla="*/ 16 w 722"/>
                <a:gd name="T9" fmla="*/ 85 h 259"/>
                <a:gd name="T10" fmla="*/ 106 w 722"/>
                <a:gd name="T11" fmla="*/ 115 h 259"/>
                <a:gd name="T12" fmla="*/ 238 w 722"/>
                <a:gd name="T13" fmla="*/ 19 h 259"/>
                <a:gd name="T14" fmla="*/ 385 w 722"/>
                <a:gd name="T15" fmla="*/ 115 h 259"/>
                <a:gd name="T16" fmla="*/ 442 w 722"/>
                <a:gd name="T17" fmla="*/ 64 h 259"/>
                <a:gd name="T18" fmla="*/ 499 w 722"/>
                <a:gd name="T19" fmla="*/ 16 h 259"/>
                <a:gd name="T20" fmla="*/ 655 w 722"/>
                <a:gd name="T21" fmla="*/ 118 h 259"/>
                <a:gd name="T22" fmla="*/ 718 w 722"/>
                <a:gd name="T23" fmla="*/ 76 h 259"/>
                <a:gd name="T24" fmla="*/ 202 w 722"/>
                <a:gd name="T25" fmla="*/ 142 h 259"/>
                <a:gd name="T26" fmla="*/ 241 w 722"/>
                <a:gd name="T27" fmla="*/ 124 h 259"/>
                <a:gd name="T28" fmla="*/ 202 w 722"/>
                <a:gd name="T29" fmla="*/ 142 h 259"/>
                <a:gd name="T30" fmla="*/ 505 w 722"/>
                <a:gd name="T31" fmla="*/ 154 h 259"/>
                <a:gd name="T32" fmla="*/ 514 w 722"/>
                <a:gd name="T33" fmla="*/ 118 h 259"/>
                <a:gd name="T34" fmla="*/ 505 w 722"/>
                <a:gd name="T35" fmla="*/ 154 h 259"/>
                <a:gd name="T36" fmla="*/ 91 w 722"/>
                <a:gd name="T37" fmla="*/ 217 h 259"/>
                <a:gd name="T38" fmla="*/ 118 w 722"/>
                <a:gd name="T39" fmla="*/ 184 h 259"/>
                <a:gd name="T40" fmla="*/ 91 w 722"/>
                <a:gd name="T41" fmla="*/ 217 h 259"/>
                <a:gd name="T42" fmla="*/ 370 w 722"/>
                <a:gd name="T43" fmla="*/ 178 h 259"/>
                <a:gd name="T44" fmla="*/ 352 w 722"/>
                <a:gd name="T45" fmla="*/ 181 h 259"/>
                <a:gd name="T46" fmla="*/ 370 w 722"/>
                <a:gd name="T47" fmla="*/ 178 h 259"/>
                <a:gd name="T48" fmla="*/ 661 w 722"/>
                <a:gd name="T49" fmla="*/ 196 h 259"/>
                <a:gd name="T50" fmla="*/ 622 w 722"/>
                <a:gd name="T51" fmla="*/ 208 h 259"/>
                <a:gd name="T52" fmla="*/ 661 w 722"/>
                <a:gd name="T53" fmla="*/ 196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22" h="259">
                  <a:moveTo>
                    <a:pt x="718" y="76"/>
                  </a:moveTo>
                  <a:cubicBezTo>
                    <a:pt x="716" y="136"/>
                    <a:pt x="722" y="204"/>
                    <a:pt x="715" y="259"/>
                  </a:cubicBezTo>
                  <a:cubicBezTo>
                    <a:pt x="479" y="259"/>
                    <a:pt x="243" y="259"/>
                    <a:pt x="7" y="259"/>
                  </a:cubicBezTo>
                  <a:cubicBezTo>
                    <a:pt x="0" y="205"/>
                    <a:pt x="6" y="138"/>
                    <a:pt x="4" y="79"/>
                  </a:cubicBezTo>
                  <a:cubicBezTo>
                    <a:pt x="8" y="67"/>
                    <a:pt x="16" y="85"/>
                    <a:pt x="16" y="85"/>
                  </a:cubicBezTo>
                  <a:cubicBezTo>
                    <a:pt x="34" y="104"/>
                    <a:pt x="61" y="128"/>
                    <a:pt x="106" y="115"/>
                  </a:cubicBezTo>
                  <a:cubicBezTo>
                    <a:pt x="159" y="100"/>
                    <a:pt x="176" y="0"/>
                    <a:pt x="238" y="19"/>
                  </a:cubicBezTo>
                  <a:cubicBezTo>
                    <a:pt x="284" y="33"/>
                    <a:pt x="294" y="141"/>
                    <a:pt x="385" y="115"/>
                  </a:cubicBezTo>
                  <a:cubicBezTo>
                    <a:pt x="408" y="109"/>
                    <a:pt x="428" y="84"/>
                    <a:pt x="442" y="64"/>
                  </a:cubicBezTo>
                  <a:cubicBezTo>
                    <a:pt x="460" y="39"/>
                    <a:pt x="473" y="17"/>
                    <a:pt x="499" y="16"/>
                  </a:cubicBezTo>
                  <a:cubicBezTo>
                    <a:pt x="561" y="15"/>
                    <a:pt x="563" y="131"/>
                    <a:pt x="655" y="118"/>
                  </a:cubicBezTo>
                  <a:cubicBezTo>
                    <a:pt x="684" y="114"/>
                    <a:pt x="698" y="89"/>
                    <a:pt x="718" y="76"/>
                  </a:cubicBezTo>
                  <a:close/>
                  <a:moveTo>
                    <a:pt x="202" y="142"/>
                  </a:moveTo>
                  <a:cubicBezTo>
                    <a:pt x="208" y="161"/>
                    <a:pt x="249" y="160"/>
                    <a:pt x="241" y="124"/>
                  </a:cubicBezTo>
                  <a:cubicBezTo>
                    <a:pt x="224" y="104"/>
                    <a:pt x="195" y="120"/>
                    <a:pt x="202" y="142"/>
                  </a:cubicBezTo>
                  <a:close/>
                  <a:moveTo>
                    <a:pt x="505" y="154"/>
                  </a:moveTo>
                  <a:cubicBezTo>
                    <a:pt x="518" y="151"/>
                    <a:pt x="524" y="133"/>
                    <a:pt x="514" y="118"/>
                  </a:cubicBezTo>
                  <a:cubicBezTo>
                    <a:pt x="469" y="100"/>
                    <a:pt x="472" y="161"/>
                    <a:pt x="505" y="154"/>
                  </a:cubicBezTo>
                  <a:close/>
                  <a:moveTo>
                    <a:pt x="91" y="217"/>
                  </a:moveTo>
                  <a:cubicBezTo>
                    <a:pt x="116" y="222"/>
                    <a:pt x="127" y="203"/>
                    <a:pt x="118" y="184"/>
                  </a:cubicBezTo>
                  <a:cubicBezTo>
                    <a:pt x="95" y="162"/>
                    <a:pt x="66" y="200"/>
                    <a:pt x="91" y="217"/>
                  </a:cubicBezTo>
                  <a:close/>
                  <a:moveTo>
                    <a:pt x="370" y="178"/>
                  </a:moveTo>
                  <a:cubicBezTo>
                    <a:pt x="365" y="180"/>
                    <a:pt x="352" y="174"/>
                    <a:pt x="352" y="181"/>
                  </a:cubicBezTo>
                  <a:cubicBezTo>
                    <a:pt x="306" y="222"/>
                    <a:pt x="414" y="229"/>
                    <a:pt x="370" y="178"/>
                  </a:cubicBezTo>
                  <a:close/>
                  <a:moveTo>
                    <a:pt x="661" y="196"/>
                  </a:moveTo>
                  <a:cubicBezTo>
                    <a:pt x="659" y="173"/>
                    <a:pt x="614" y="166"/>
                    <a:pt x="622" y="208"/>
                  </a:cubicBezTo>
                  <a:cubicBezTo>
                    <a:pt x="638" y="227"/>
                    <a:pt x="662" y="214"/>
                    <a:pt x="661" y="19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  <p:sp>
          <p:nvSpPr>
            <p:cNvPr id="22" name="Freeform 11"/>
            <p:cNvSpPr>
              <a:spLocks/>
            </p:cNvSpPr>
            <p:nvPr/>
          </p:nvSpPr>
          <p:spPr bwMode="auto">
            <a:xfrm>
              <a:off x="10978877" y="827209"/>
              <a:ext cx="542696" cy="78566"/>
            </a:xfrm>
            <a:custGeom>
              <a:avLst/>
              <a:gdLst>
                <a:gd name="T0" fmla="*/ 844 w 854"/>
                <a:gd name="T1" fmla="*/ 16 h 124"/>
                <a:gd name="T2" fmla="*/ 844 w 854"/>
                <a:gd name="T3" fmla="*/ 109 h 124"/>
                <a:gd name="T4" fmla="*/ 745 w 854"/>
                <a:gd name="T5" fmla="*/ 118 h 124"/>
                <a:gd name="T6" fmla="*/ 112 w 854"/>
                <a:gd name="T7" fmla="*/ 118 h 124"/>
                <a:gd name="T8" fmla="*/ 16 w 854"/>
                <a:gd name="T9" fmla="*/ 109 h 124"/>
                <a:gd name="T10" fmla="*/ 34 w 854"/>
                <a:gd name="T11" fmla="*/ 7 h 124"/>
                <a:gd name="T12" fmla="*/ 139 w 854"/>
                <a:gd name="T13" fmla="*/ 7 h 124"/>
                <a:gd name="T14" fmla="*/ 751 w 854"/>
                <a:gd name="T15" fmla="*/ 7 h 124"/>
                <a:gd name="T16" fmla="*/ 844 w 854"/>
                <a:gd name="T17" fmla="*/ 16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54" h="124">
                  <a:moveTo>
                    <a:pt x="844" y="16"/>
                  </a:moveTo>
                  <a:cubicBezTo>
                    <a:pt x="854" y="36"/>
                    <a:pt x="854" y="89"/>
                    <a:pt x="844" y="109"/>
                  </a:cubicBezTo>
                  <a:cubicBezTo>
                    <a:pt x="815" y="124"/>
                    <a:pt x="778" y="118"/>
                    <a:pt x="745" y="118"/>
                  </a:cubicBezTo>
                  <a:cubicBezTo>
                    <a:pt x="540" y="118"/>
                    <a:pt x="322" y="118"/>
                    <a:pt x="112" y="118"/>
                  </a:cubicBezTo>
                  <a:cubicBezTo>
                    <a:pt x="80" y="118"/>
                    <a:pt x="45" y="124"/>
                    <a:pt x="16" y="109"/>
                  </a:cubicBezTo>
                  <a:cubicBezTo>
                    <a:pt x="6" y="79"/>
                    <a:pt x="0" y="16"/>
                    <a:pt x="34" y="7"/>
                  </a:cubicBezTo>
                  <a:cubicBezTo>
                    <a:pt x="60" y="0"/>
                    <a:pt x="105" y="7"/>
                    <a:pt x="139" y="7"/>
                  </a:cubicBezTo>
                  <a:cubicBezTo>
                    <a:pt x="340" y="7"/>
                    <a:pt x="549" y="7"/>
                    <a:pt x="751" y="7"/>
                  </a:cubicBezTo>
                  <a:cubicBezTo>
                    <a:pt x="783" y="7"/>
                    <a:pt x="817" y="1"/>
                    <a:pt x="844" y="1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/>
            </a:p>
          </p:txBody>
        </p:sp>
      </p:grpSp>
      <p:sp>
        <p:nvSpPr>
          <p:cNvPr id="52" name="RbLeanShape Right U-Shape 13"/>
          <p:cNvSpPr/>
          <p:nvPr/>
        </p:nvSpPr>
        <p:spPr>
          <a:xfrm rot="5400000">
            <a:off x="9664557" y="489280"/>
            <a:ext cx="331355" cy="3620770"/>
          </a:xfrm>
          <a:custGeom>
            <a:avLst/>
            <a:gdLst>
              <a:gd name="connsiteX0" fmla="*/ 1270000 w 1270000"/>
              <a:gd name="connsiteY0" fmla="*/ 0 h 3175000"/>
              <a:gd name="connsiteX1" fmla="*/ 0 w 1270000"/>
              <a:gd name="connsiteY1" fmla="*/ 0 h 3175000"/>
              <a:gd name="connsiteX2" fmla="*/ 0 w 1270000"/>
              <a:gd name="connsiteY2" fmla="*/ 3175000 h 3175000"/>
              <a:gd name="connsiteX3" fmla="*/ 1270000 w 1270000"/>
              <a:gd name="connsiteY3" fmla="*/ 317500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0000" h="3175000">
                <a:moveTo>
                  <a:pt x="1270000" y="0"/>
                </a:moveTo>
                <a:lnTo>
                  <a:pt x="0" y="0"/>
                </a:lnTo>
                <a:lnTo>
                  <a:pt x="0" y="3175000"/>
                </a:lnTo>
                <a:lnTo>
                  <a:pt x="1270000" y="3175000"/>
                </a:lnTo>
              </a:path>
            </a:pathLst>
          </a:custGeom>
          <a:ln w="19050">
            <a:solidFill>
              <a:srgbClr val="DA18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0000" tIns="90000" rIns="0" bIns="0" rtlCol="0" anchor="t"/>
          <a:lstStyle/>
          <a:p>
            <a:pPr fontAlgn="ctr"/>
            <a:endParaRPr lang="de-CH" sz="1300" b="1"/>
          </a:p>
        </p:txBody>
      </p:sp>
      <p:sp>
        <p:nvSpPr>
          <p:cNvPr id="54" name="Textfeld 53"/>
          <p:cNvSpPr txBox="1"/>
          <p:nvPr/>
        </p:nvSpPr>
        <p:spPr>
          <a:xfrm>
            <a:off x="1714542" y="2319481"/>
            <a:ext cx="929393" cy="338554"/>
          </a:xfrm>
          <a:prstGeom prst="rect">
            <a:avLst/>
          </a:prstGeom>
          <a:noFill/>
        </p:spPr>
        <p:txBody>
          <a:bodyPr spcFirstLastPara="1" wrap="none" numCol="1" rtlCol="0">
            <a:prstTxWarp prst="textArchDown">
              <a:avLst/>
            </a:prstTxWarp>
            <a:spAutoFit/>
          </a:bodyPr>
          <a:lstStyle>
            <a:defPPr>
              <a:defRPr lang="de-DE"/>
            </a:defPPr>
            <a:lvl1pPr algn="ctr">
              <a:defRPr sz="1600" b="1">
                <a:solidFill>
                  <a:srgbClr val="DA1838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de-CH" dirty="0"/>
              <a:t>15-34</a:t>
            </a:r>
          </a:p>
        </p:txBody>
      </p:sp>
      <p:sp>
        <p:nvSpPr>
          <p:cNvPr id="55" name="Textfeld 54"/>
          <p:cNvSpPr txBox="1"/>
          <p:nvPr/>
        </p:nvSpPr>
        <p:spPr>
          <a:xfrm>
            <a:off x="5528942" y="2319481"/>
            <a:ext cx="948968" cy="338554"/>
          </a:xfrm>
          <a:prstGeom prst="rect">
            <a:avLst/>
          </a:prstGeom>
          <a:noFill/>
        </p:spPr>
        <p:txBody>
          <a:bodyPr spcFirstLastPara="1" wrap="none" numCol="1" rtlCol="0">
            <a:prstTxWarp prst="textArchDown">
              <a:avLst/>
            </a:prstTxWarp>
            <a:spAutoFit/>
          </a:bodyPr>
          <a:lstStyle>
            <a:defPPr>
              <a:defRPr lang="de-DE"/>
            </a:defPPr>
            <a:lvl1pPr algn="ctr">
              <a:defRPr sz="1600" b="1">
                <a:solidFill>
                  <a:srgbClr val="DA1838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de-CH" dirty="0"/>
              <a:t>35-54</a:t>
            </a:r>
          </a:p>
        </p:txBody>
      </p:sp>
      <p:sp>
        <p:nvSpPr>
          <p:cNvPr id="56" name="RbLeanShape Right U-Shape 13"/>
          <p:cNvSpPr/>
          <p:nvPr/>
        </p:nvSpPr>
        <p:spPr>
          <a:xfrm rot="5400000">
            <a:off x="5831196" y="498452"/>
            <a:ext cx="331355" cy="3602421"/>
          </a:xfrm>
          <a:custGeom>
            <a:avLst/>
            <a:gdLst>
              <a:gd name="connsiteX0" fmla="*/ 1270000 w 1270000"/>
              <a:gd name="connsiteY0" fmla="*/ 0 h 3175000"/>
              <a:gd name="connsiteX1" fmla="*/ 0 w 1270000"/>
              <a:gd name="connsiteY1" fmla="*/ 0 h 3175000"/>
              <a:gd name="connsiteX2" fmla="*/ 0 w 1270000"/>
              <a:gd name="connsiteY2" fmla="*/ 3175000 h 3175000"/>
              <a:gd name="connsiteX3" fmla="*/ 1270000 w 1270000"/>
              <a:gd name="connsiteY3" fmla="*/ 317500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0000" h="3175000">
                <a:moveTo>
                  <a:pt x="1270000" y="0"/>
                </a:moveTo>
                <a:lnTo>
                  <a:pt x="0" y="0"/>
                </a:lnTo>
                <a:lnTo>
                  <a:pt x="0" y="3175000"/>
                </a:lnTo>
                <a:lnTo>
                  <a:pt x="1270000" y="3175000"/>
                </a:lnTo>
              </a:path>
            </a:pathLst>
          </a:custGeom>
          <a:ln w="19050">
            <a:solidFill>
              <a:srgbClr val="DA18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0000" tIns="90000" rIns="0" bIns="0" rtlCol="0" anchor="t"/>
          <a:lstStyle/>
          <a:p>
            <a:pPr fontAlgn="ctr"/>
            <a:endParaRPr lang="de-CH" sz="1300" b="1"/>
          </a:p>
        </p:txBody>
      </p:sp>
      <p:sp>
        <p:nvSpPr>
          <p:cNvPr id="57" name="RbLeanShape Right U-Shape 13"/>
          <p:cNvSpPr/>
          <p:nvPr/>
        </p:nvSpPr>
        <p:spPr>
          <a:xfrm rot="5400000">
            <a:off x="2018792" y="486669"/>
            <a:ext cx="331355" cy="3625989"/>
          </a:xfrm>
          <a:custGeom>
            <a:avLst/>
            <a:gdLst>
              <a:gd name="connsiteX0" fmla="*/ 1270000 w 1270000"/>
              <a:gd name="connsiteY0" fmla="*/ 0 h 3175000"/>
              <a:gd name="connsiteX1" fmla="*/ 0 w 1270000"/>
              <a:gd name="connsiteY1" fmla="*/ 0 h 3175000"/>
              <a:gd name="connsiteX2" fmla="*/ 0 w 1270000"/>
              <a:gd name="connsiteY2" fmla="*/ 3175000 h 3175000"/>
              <a:gd name="connsiteX3" fmla="*/ 1270000 w 1270000"/>
              <a:gd name="connsiteY3" fmla="*/ 317500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0000" h="3175000">
                <a:moveTo>
                  <a:pt x="1270000" y="0"/>
                </a:moveTo>
                <a:lnTo>
                  <a:pt x="0" y="0"/>
                </a:lnTo>
                <a:lnTo>
                  <a:pt x="0" y="3175000"/>
                </a:lnTo>
                <a:lnTo>
                  <a:pt x="1270000" y="3175000"/>
                </a:lnTo>
              </a:path>
            </a:pathLst>
          </a:custGeom>
          <a:ln w="19050">
            <a:solidFill>
              <a:srgbClr val="DA18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0000" tIns="90000" rIns="0" bIns="0" rtlCol="0" anchor="t"/>
          <a:lstStyle/>
          <a:p>
            <a:pPr fontAlgn="ctr"/>
            <a:endParaRPr lang="de-CH" sz="1300" b="1"/>
          </a:p>
        </p:txBody>
      </p:sp>
      <p:sp>
        <p:nvSpPr>
          <p:cNvPr id="58" name="Ellipse 57"/>
          <p:cNvSpPr/>
          <p:nvPr/>
        </p:nvSpPr>
        <p:spPr>
          <a:xfrm>
            <a:off x="1807474" y="1725758"/>
            <a:ext cx="743528" cy="743528"/>
          </a:xfrm>
          <a:prstGeom prst="ellipse">
            <a:avLst/>
          </a:prstGeom>
          <a:gradFill>
            <a:gsLst>
              <a:gs pos="100000">
                <a:srgbClr val="F5A1AF"/>
              </a:gs>
              <a:gs pos="35000">
                <a:srgbClr val="DA1838"/>
              </a:gs>
              <a:gs pos="1000">
                <a:srgbClr val="A2122A"/>
              </a:gs>
              <a:gs pos="65000">
                <a:srgbClr val="EC526C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61" name="Ellipse 60"/>
          <p:cNvSpPr/>
          <p:nvPr/>
        </p:nvSpPr>
        <p:spPr>
          <a:xfrm>
            <a:off x="5631662" y="1725758"/>
            <a:ext cx="743528" cy="743528"/>
          </a:xfrm>
          <a:prstGeom prst="ellipse">
            <a:avLst/>
          </a:prstGeom>
          <a:gradFill>
            <a:gsLst>
              <a:gs pos="100000">
                <a:srgbClr val="F5A1AF"/>
              </a:gs>
              <a:gs pos="35000">
                <a:srgbClr val="DA1838"/>
              </a:gs>
              <a:gs pos="1000">
                <a:srgbClr val="A2122A"/>
              </a:gs>
              <a:gs pos="65000">
                <a:srgbClr val="EC526C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65" name="Ellipse 64"/>
          <p:cNvSpPr/>
          <p:nvPr/>
        </p:nvSpPr>
        <p:spPr>
          <a:xfrm>
            <a:off x="9491272" y="1725758"/>
            <a:ext cx="743528" cy="743528"/>
          </a:xfrm>
          <a:prstGeom prst="ellipse">
            <a:avLst/>
          </a:prstGeom>
          <a:gradFill>
            <a:gsLst>
              <a:gs pos="100000">
                <a:srgbClr val="F5A1AF"/>
              </a:gs>
              <a:gs pos="35000">
                <a:srgbClr val="DA1838"/>
              </a:gs>
              <a:gs pos="1000">
                <a:srgbClr val="A2122A"/>
              </a:gs>
              <a:gs pos="65000">
                <a:srgbClr val="EC526C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66" name="Textfeld 65"/>
          <p:cNvSpPr txBox="1"/>
          <p:nvPr/>
        </p:nvSpPr>
        <p:spPr>
          <a:xfrm>
            <a:off x="9411716" y="2319481"/>
            <a:ext cx="902640" cy="338554"/>
          </a:xfrm>
          <a:prstGeom prst="rect">
            <a:avLst/>
          </a:prstGeom>
          <a:noFill/>
        </p:spPr>
        <p:txBody>
          <a:bodyPr spcFirstLastPara="1" wrap="none" numCol="1" rtlCol="0">
            <a:prstTxWarp prst="textArchDown">
              <a:avLst/>
            </a:prstTxWarp>
            <a:spAutoFit/>
          </a:bodyPr>
          <a:lstStyle>
            <a:defPPr>
              <a:defRPr lang="de-DE"/>
            </a:defPPr>
            <a:lvl1pPr algn="ctr">
              <a:defRPr sz="1600" b="1">
                <a:solidFill>
                  <a:srgbClr val="DA1838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de-CH" dirty="0"/>
              <a:t>55+</a:t>
            </a:r>
          </a:p>
        </p:txBody>
      </p:sp>
      <p:pic>
        <p:nvPicPr>
          <p:cNvPr id="70" name="Grafik 69"/>
          <p:cNvPicPr>
            <a:picLocks noChangeAspect="1"/>
          </p:cNvPicPr>
          <p:nvPr/>
        </p:nvPicPr>
        <p:blipFill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100000" contrast="8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732" y="1876789"/>
            <a:ext cx="421297" cy="446830"/>
          </a:xfrm>
          <a:prstGeom prst="rect">
            <a:avLst/>
          </a:prstGeom>
        </p:spPr>
      </p:pic>
      <p:pic>
        <p:nvPicPr>
          <p:cNvPr id="72" name="Grafik 71"/>
          <p:cNvPicPr>
            <a:picLocks noChangeAspect="1"/>
          </p:cNvPicPr>
          <p:nvPr/>
        </p:nvPicPr>
        <p:blipFill>
          <a:blip r:embed="rId13" cstate="print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3259" y="1875497"/>
            <a:ext cx="417434" cy="465856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15" cstate="print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6910" y="1870123"/>
            <a:ext cx="492253" cy="454799"/>
          </a:xfrm>
          <a:prstGeom prst="rect">
            <a:avLst/>
          </a:prstGeom>
        </p:spPr>
      </p:pic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dirty="0"/>
              <a:t>DIGIMIG - The </a:t>
            </a:r>
            <a:r>
              <a:rPr lang="de-CH" dirty="0" err="1"/>
              <a:t>research</a:t>
            </a:r>
            <a:r>
              <a:rPr lang="de-CH" dirty="0"/>
              <a:t> </a:t>
            </a:r>
            <a:r>
              <a:rPr lang="de-CH" dirty="0" err="1"/>
              <a:t>project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digital </a:t>
            </a:r>
            <a:r>
              <a:rPr lang="de-CH" dirty="0" err="1"/>
              <a:t>migration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radio</a:t>
            </a:r>
            <a:r>
              <a:rPr lang="de-CH" dirty="0"/>
              <a:t> </a:t>
            </a:r>
            <a:r>
              <a:rPr lang="de-CH" dirty="0" err="1"/>
              <a:t>usage</a:t>
            </a:r>
            <a:r>
              <a:rPr lang="de-CH" dirty="0"/>
              <a:t> in </a:t>
            </a:r>
            <a:r>
              <a:rPr lang="de-CH" dirty="0" err="1"/>
              <a:t>Switzerland</a:t>
            </a:r>
            <a:endParaRPr lang="de-CH" dirty="0"/>
          </a:p>
        </p:txBody>
      </p:sp>
      <p:cxnSp>
        <p:nvCxnSpPr>
          <p:cNvPr id="189" name="Gerade Verbindung 188"/>
          <p:cNvCxnSpPr/>
          <p:nvPr/>
        </p:nvCxnSpPr>
        <p:spPr>
          <a:xfrm>
            <a:off x="371475" y="1270165"/>
            <a:ext cx="11353800" cy="0"/>
          </a:xfrm>
          <a:prstGeom prst="line">
            <a:avLst/>
          </a:prstGeom>
          <a:ln w="19050">
            <a:gradFill flip="none" rotWithShape="1">
              <a:gsLst>
                <a:gs pos="43000">
                  <a:srgbClr val="DA1838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Rechteck 190"/>
          <p:cNvSpPr/>
          <p:nvPr/>
        </p:nvSpPr>
        <p:spPr>
          <a:xfrm>
            <a:off x="11016577" y="6808"/>
            <a:ext cx="49346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CH" sz="1400" b="1" dirty="0">
                <a:solidFill>
                  <a:srgbClr val="DA1838"/>
                </a:solidFill>
              </a:rPr>
              <a:t>AGE</a:t>
            </a:r>
          </a:p>
        </p:txBody>
      </p:sp>
      <p:sp>
        <p:nvSpPr>
          <p:cNvPr id="3" name="Rechteck 2"/>
          <p:cNvSpPr/>
          <p:nvPr/>
        </p:nvSpPr>
        <p:spPr>
          <a:xfrm>
            <a:off x="9605729" y="2039426"/>
            <a:ext cx="95192" cy="278741"/>
          </a:xfrm>
          <a:prstGeom prst="rect">
            <a:avLst/>
          </a:prstGeom>
          <a:gradFill flip="none" rotWithShape="1">
            <a:gsLst>
              <a:gs pos="7000">
                <a:srgbClr val="D01735"/>
              </a:gs>
              <a:gs pos="95000">
                <a:srgbClr val="E84662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92" name="Rechteck 191"/>
          <p:cNvSpPr/>
          <p:nvPr/>
        </p:nvSpPr>
        <p:spPr>
          <a:xfrm>
            <a:off x="9875484" y="2103996"/>
            <a:ext cx="50384" cy="237357"/>
          </a:xfrm>
          <a:prstGeom prst="rect">
            <a:avLst/>
          </a:prstGeom>
          <a:solidFill>
            <a:srgbClr val="E93B58"/>
          </a:solidFill>
          <a:ln>
            <a:solidFill>
              <a:srgbClr val="E93B5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33" name="Titel 2"/>
          <p:cNvSpPr>
            <a:spLocks noGrp="1"/>
          </p:cNvSpPr>
          <p:nvPr>
            <p:ph type="title"/>
          </p:nvPr>
        </p:nvSpPr>
        <p:spPr>
          <a:xfrm>
            <a:off x="385267" y="399357"/>
            <a:ext cx="10515600" cy="387798"/>
          </a:xfrm>
        </p:spPr>
        <p:txBody>
          <a:bodyPr/>
          <a:lstStyle/>
          <a:p>
            <a:r>
              <a:rPr lang="de-CH" dirty="0">
                <a:latin typeface="Cambria" panose="02040503050406030204" pitchFamily="18" charset="0"/>
                <a:ea typeface="Cambria" panose="02040503050406030204" pitchFamily="18" charset="0"/>
              </a:rPr>
              <a:t>Radio </a:t>
            </a:r>
            <a:r>
              <a:rPr lang="de-CH" dirty="0" err="1">
                <a:latin typeface="Cambria" panose="02040503050406030204" pitchFamily="18" charset="0"/>
                <a:ea typeface="Cambria" panose="02040503050406030204" pitchFamily="18" charset="0"/>
              </a:rPr>
              <a:t>use</a:t>
            </a:r>
            <a:r>
              <a:rPr lang="de-CH" dirty="0"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de-CH" dirty="0" err="1">
                <a:latin typeface="Cambria" panose="02040503050406030204" pitchFamily="18" charset="0"/>
                <a:ea typeface="Cambria" panose="02040503050406030204" pitchFamily="18" charset="0"/>
              </a:rPr>
              <a:t>by</a:t>
            </a:r>
            <a:r>
              <a:rPr lang="de-CH" dirty="0"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de-CH" dirty="0" err="1">
                <a:latin typeface="Cambria" panose="02040503050406030204" pitchFamily="18" charset="0"/>
                <a:ea typeface="Cambria" panose="02040503050406030204" pitchFamily="18" charset="0"/>
              </a:rPr>
              <a:t>age</a:t>
            </a:r>
            <a:endParaRPr lang="de-CH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CBCB11BF-48FA-4B82-BC67-28005AD56ED5}"/>
              </a:ext>
            </a:extLst>
          </p:cNvPr>
          <p:cNvSpPr/>
          <p:nvPr/>
        </p:nvSpPr>
        <p:spPr>
          <a:xfrm>
            <a:off x="3730950" y="2914710"/>
            <a:ext cx="212430" cy="2818546"/>
          </a:xfrm>
          <a:prstGeom prst="rect">
            <a:avLst/>
          </a:prstGeom>
          <a:noFill/>
          <a:ln w="19050">
            <a:solidFill>
              <a:srgbClr val="DA18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/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97A18A89-6610-4577-A077-D5E065318789}"/>
              </a:ext>
            </a:extLst>
          </p:cNvPr>
          <p:cNvSpPr/>
          <p:nvPr/>
        </p:nvSpPr>
        <p:spPr>
          <a:xfrm>
            <a:off x="7526215" y="2911083"/>
            <a:ext cx="211016" cy="2822267"/>
          </a:xfrm>
          <a:prstGeom prst="rect">
            <a:avLst/>
          </a:prstGeom>
          <a:noFill/>
          <a:ln w="19050">
            <a:solidFill>
              <a:srgbClr val="DA18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/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ACCC805F-4027-4690-8D9C-DFA743D7C79E}"/>
              </a:ext>
            </a:extLst>
          </p:cNvPr>
          <p:cNvSpPr/>
          <p:nvPr/>
        </p:nvSpPr>
        <p:spPr>
          <a:xfrm>
            <a:off x="11374734" y="2911083"/>
            <a:ext cx="211015" cy="2822267"/>
          </a:xfrm>
          <a:prstGeom prst="rect">
            <a:avLst/>
          </a:prstGeom>
          <a:noFill/>
          <a:ln w="19050">
            <a:solidFill>
              <a:srgbClr val="DA18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/>
          </a:p>
        </p:txBody>
      </p:sp>
      <p:grpSp>
        <p:nvGrpSpPr>
          <p:cNvPr id="160" name="Gruppieren 159">
            <a:extLst>
              <a:ext uri="{FF2B5EF4-FFF2-40B4-BE49-F238E27FC236}">
                <a16:creationId xmlns:a16="http://schemas.microsoft.com/office/drawing/2014/main" id="{8FFFBE6B-8558-458E-8B77-518306A7B035}"/>
              </a:ext>
            </a:extLst>
          </p:cNvPr>
          <p:cNvGrpSpPr/>
          <p:nvPr/>
        </p:nvGrpSpPr>
        <p:grpSpPr>
          <a:xfrm>
            <a:off x="4878655" y="5924928"/>
            <a:ext cx="2434691" cy="299493"/>
            <a:chOff x="346062" y="6009882"/>
            <a:chExt cx="2434691" cy="299493"/>
          </a:xfrm>
        </p:grpSpPr>
        <p:grpSp>
          <p:nvGrpSpPr>
            <p:cNvPr id="161" name="Gruppieren 160">
              <a:extLst>
                <a:ext uri="{FF2B5EF4-FFF2-40B4-BE49-F238E27FC236}">
                  <a16:creationId xmlns:a16="http://schemas.microsoft.com/office/drawing/2014/main" id="{D57EF40B-9E0B-477E-977E-CF71F0B764F9}"/>
                </a:ext>
              </a:extLst>
            </p:cNvPr>
            <p:cNvGrpSpPr/>
            <p:nvPr/>
          </p:nvGrpSpPr>
          <p:grpSpPr>
            <a:xfrm>
              <a:off x="346062" y="6032376"/>
              <a:ext cx="853501" cy="276999"/>
              <a:chOff x="346062" y="6011422"/>
              <a:chExt cx="853501" cy="276999"/>
            </a:xfrm>
          </p:grpSpPr>
          <p:sp>
            <p:nvSpPr>
              <p:cNvPr id="196" name="Freihandform: Form 195">
                <a:extLst>
                  <a:ext uri="{FF2B5EF4-FFF2-40B4-BE49-F238E27FC236}">
                    <a16:creationId xmlns:a16="http://schemas.microsoft.com/office/drawing/2014/main" id="{9AB5E53E-EE64-48B0-8D80-ECEDB8CB66B2}"/>
                  </a:ext>
                </a:extLst>
              </p:cNvPr>
              <p:cNvSpPr/>
              <p:nvPr/>
            </p:nvSpPr>
            <p:spPr>
              <a:xfrm rot="17313778">
                <a:off x="391982" y="5971045"/>
                <a:ext cx="265911" cy="357752"/>
              </a:xfrm>
              <a:custGeom>
                <a:avLst/>
                <a:gdLst>
                  <a:gd name="connsiteX0" fmla="*/ 389868 w 2015694"/>
                  <a:gd name="connsiteY0" fmla="*/ 519306 h 2501079"/>
                  <a:gd name="connsiteX1" fmla="*/ 340242 w 2015694"/>
                  <a:gd name="connsiteY1" fmla="*/ 480675 h 2501079"/>
                  <a:gd name="connsiteX2" fmla="*/ 317828 w 2015694"/>
                  <a:gd name="connsiteY2" fmla="*/ 483487 h 2501079"/>
                  <a:gd name="connsiteX3" fmla="*/ 317828 w 2015694"/>
                  <a:gd name="connsiteY3" fmla="*/ 483486 h 2501079"/>
                  <a:gd name="connsiteX4" fmla="*/ 317827 w 2015694"/>
                  <a:gd name="connsiteY4" fmla="*/ 483487 h 2501079"/>
                  <a:gd name="connsiteX5" fmla="*/ 317828 w 2015694"/>
                  <a:gd name="connsiteY5" fmla="*/ 483487 h 2501079"/>
                  <a:gd name="connsiteX6" fmla="*/ 298259 w 2015694"/>
                  <a:gd name="connsiteY6" fmla="*/ 494774 h 2501079"/>
                  <a:gd name="connsiteX7" fmla="*/ 282008 w 2015694"/>
                  <a:gd name="connsiteY7" fmla="*/ 555527 h 2501079"/>
                  <a:gd name="connsiteX8" fmla="*/ 559267 w 2015694"/>
                  <a:gd name="connsiteY8" fmla="*/ 1381153 h 2501079"/>
                  <a:gd name="connsiteX9" fmla="*/ 631308 w 2015694"/>
                  <a:gd name="connsiteY9" fmla="*/ 1416972 h 2501079"/>
                  <a:gd name="connsiteX10" fmla="*/ 631308 w 2015694"/>
                  <a:gd name="connsiteY10" fmla="*/ 1416973 h 2501079"/>
                  <a:gd name="connsiteX11" fmla="*/ 667128 w 2015694"/>
                  <a:gd name="connsiteY11" fmla="*/ 1344932 h 2501079"/>
                  <a:gd name="connsiteX12" fmla="*/ 588703 w 2015694"/>
                  <a:gd name="connsiteY12" fmla="*/ 452534 h 2501079"/>
                  <a:gd name="connsiteX13" fmla="*/ 539077 w 2015694"/>
                  <a:gd name="connsiteY13" fmla="*/ 413903 h 2501079"/>
                  <a:gd name="connsiteX14" fmla="*/ 516662 w 2015694"/>
                  <a:gd name="connsiteY14" fmla="*/ 416714 h 2501079"/>
                  <a:gd name="connsiteX15" fmla="*/ 497094 w 2015694"/>
                  <a:gd name="connsiteY15" fmla="*/ 428002 h 2501079"/>
                  <a:gd name="connsiteX16" fmla="*/ 480843 w 2015694"/>
                  <a:gd name="connsiteY16" fmla="*/ 488755 h 2501079"/>
                  <a:gd name="connsiteX17" fmla="*/ 758102 w 2015694"/>
                  <a:gd name="connsiteY17" fmla="*/ 1314380 h 2501079"/>
                  <a:gd name="connsiteX18" fmla="*/ 830143 w 2015694"/>
                  <a:gd name="connsiteY18" fmla="*/ 1350200 h 2501079"/>
                  <a:gd name="connsiteX19" fmla="*/ 830143 w 2015694"/>
                  <a:gd name="connsiteY19" fmla="*/ 1350201 h 2501079"/>
                  <a:gd name="connsiteX20" fmla="*/ 865963 w 2015694"/>
                  <a:gd name="connsiteY20" fmla="*/ 1278160 h 2501079"/>
                  <a:gd name="connsiteX21" fmla="*/ 783494 w 2015694"/>
                  <a:gd name="connsiteY21" fmla="*/ 387120 h 2501079"/>
                  <a:gd name="connsiteX22" fmla="*/ 733868 w 2015694"/>
                  <a:gd name="connsiteY22" fmla="*/ 348489 h 2501079"/>
                  <a:gd name="connsiteX23" fmla="*/ 711453 w 2015694"/>
                  <a:gd name="connsiteY23" fmla="*/ 351300 h 2501079"/>
                  <a:gd name="connsiteX24" fmla="*/ 691885 w 2015694"/>
                  <a:gd name="connsiteY24" fmla="*/ 362587 h 2501079"/>
                  <a:gd name="connsiteX25" fmla="*/ 675634 w 2015694"/>
                  <a:gd name="connsiteY25" fmla="*/ 423341 h 2501079"/>
                  <a:gd name="connsiteX26" fmla="*/ 952893 w 2015694"/>
                  <a:gd name="connsiteY26" fmla="*/ 1248966 h 2501079"/>
                  <a:gd name="connsiteX27" fmla="*/ 1024934 w 2015694"/>
                  <a:gd name="connsiteY27" fmla="*/ 1284786 h 2501079"/>
                  <a:gd name="connsiteX28" fmla="*/ 1024934 w 2015694"/>
                  <a:gd name="connsiteY28" fmla="*/ 1284787 h 2501079"/>
                  <a:gd name="connsiteX29" fmla="*/ 1060753 w 2015694"/>
                  <a:gd name="connsiteY29" fmla="*/ 1212746 h 2501079"/>
                  <a:gd name="connsiteX30" fmla="*/ 1254458 w 2015694"/>
                  <a:gd name="connsiteY30" fmla="*/ 1147696 h 2501079"/>
                  <a:gd name="connsiteX31" fmla="*/ 977198 w 2015694"/>
                  <a:gd name="connsiteY31" fmla="*/ 322070 h 2501079"/>
                  <a:gd name="connsiteX32" fmla="*/ 927572 w 2015694"/>
                  <a:gd name="connsiteY32" fmla="*/ 283440 h 2501079"/>
                  <a:gd name="connsiteX33" fmla="*/ 905157 w 2015694"/>
                  <a:gd name="connsiteY33" fmla="*/ 286251 h 2501079"/>
                  <a:gd name="connsiteX34" fmla="*/ 885589 w 2015694"/>
                  <a:gd name="connsiteY34" fmla="*/ 297538 h 2501079"/>
                  <a:gd name="connsiteX35" fmla="*/ 869338 w 2015694"/>
                  <a:gd name="connsiteY35" fmla="*/ 358292 h 2501079"/>
                  <a:gd name="connsiteX36" fmla="*/ 1146597 w 2015694"/>
                  <a:gd name="connsiteY36" fmla="*/ 1183917 h 2501079"/>
                  <a:gd name="connsiteX37" fmla="*/ 1218638 w 2015694"/>
                  <a:gd name="connsiteY37" fmla="*/ 1219736 h 2501079"/>
                  <a:gd name="connsiteX38" fmla="*/ 1218638 w 2015694"/>
                  <a:gd name="connsiteY38" fmla="*/ 1219737 h 2501079"/>
                  <a:gd name="connsiteX39" fmla="*/ 1254458 w 2015694"/>
                  <a:gd name="connsiteY39" fmla="*/ 1147696 h 2501079"/>
                  <a:gd name="connsiteX40" fmla="*/ 1522837 w 2015694"/>
                  <a:gd name="connsiteY40" fmla="*/ 1709825 h 2501079"/>
                  <a:gd name="connsiteX41" fmla="*/ 1306666 w 2015694"/>
                  <a:gd name="connsiteY41" fmla="*/ 2131518 h 2501079"/>
                  <a:gd name="connsiteX42" fmla="*/ 879790 w 2015694"/>
                  <a:gd name="connsiteY42" fmla="*/ 1925771 h 2501079"/>
                  <a:gd name="connsiteX43" fmla="*/ 1095961 w 2015694"/>
                  <a:gd name="connsiteY43" fmla="*/ 1504078 h 2501079"/>
                  <a:gd name="connsiteX44" fmla="*/ 1522837 w 2015694"/>
                  <a:gd name="connsiteY44" fmla="*/ 1709825 h 2501079"/>
                  <a:gd name="connsiteX45" fmla="*/ 1593127 w 2015694"/>
                  <a:gd name="connsiteY45" fmla="*/ 1686220 h 2501079"/>
                  <a:gd name="connsiteX46" fmla="*/ 1072356 w 2015694"/>
                  <a:gd name="connsiteY46" fmla="*/ 1433789 h 2501079"/>
                  <a:gd name="connsiteX47" fmla="*/ 809501 w 2015694"/>
                  <a:gd name="connsiteY47" fmla="*/ 1949376 h 2501079"/>
                  <a:gd name="connsiteX48" fmla="*/ 1330271 w 2015694"/>
                  <a:gd name="connsiteY48" fmla="*/ 2201807 h 2501079"/>
                  <a:gd name="connsiteX49" fmla="*/ 1593127 w 2015694"/>
                  <a:gd name="connsiteY49" fmla="*/ 1686220 h 2501079"/>
                  <a:gd name="connsiteX50" fmla="*/ 1443557 w 2015694"/>
                  <a:gd name="connsiteY50" fmla="*/ 1084193 h 2501079"/>
                  <a:gd name="connsiteX51" fmla="*/ 1166297 w 2015694"/>
                  <a:gd name="connsiteY51" fmla="*/ 258568 h 2501079"/>
                  <a:gd name="connsiteX52" fmla="*/ 1116671 w 2015694"/>
                  <a:gd name="connsiteY52" fmla="*/ 219937 h 2501079"/>
                  <a:gd name="connsiteX53" fmla="*/ 1094257 w 2015694"/>
                  <a:gd name="connsiteY53" fmla="*/ 222748 h 2501079"/>
                  <a:gd name="connsiteX54" fmla="*/ 1074688 w 2015694"/>
                  <a:gd name="connsiteY54" fmla="*/ 234035 h 2501079"/>
                  <a:gd name="connsiteX55" fmla="*/ 1058437 w 2015694"/>
                  <a:gd name="connsiteY55" fmla="*/ 294789 h 2501079"/>
                  <a:gd name="connsiteX56" fmla="*/ 1335696 w 2015694"/>
                  <a:gd name="connsiteY56" fmla="*/ 1120414 h 2501079"/>
                  <a:gd name="connsiteX57" fmla="*/ 1407737 w 2015694"/>
                  <a:gd name="connsiteY57" fmla="*/ 1156234 h 2501079"/>
                  <a:gd name="connsiteX58" fmla="*/ 1443557 w 2015694"/>
                  <a:gd name="connsiteY58" fmla="*/ 1084193 h 2501079"/>
                  <a:gd name="connsiteX59" fmla="*/ 2010796 w 2015694"/>
                  <a:gd name="connsiteY59" fmla="*/ 401383 h 2501079"/>
                  <a:gd name="connsiteX60" fmla="*/ 2010796 w 2015694"/>
                  <a:gd name="connsiteY60" fmla="*/ 1887765 h 2501079"/>
                  <a:gd name="connsiteX61" fmla="*/ 2013841 w 2015694"/>
                  <a:gd name="connsiteY61" fmla="*/ 1901159 h 2501079"/>
                  <a:gd name="connsiteX62" fmla="*/ 1844841 w 2015694"/>
                  <a:gd name="connsiteY62" fmla="*/ 2168943 h 2501079"/>
                  <a:gd name="connsiteX63" fmla="*/ 894823 w 2015694"/>
                  <a:gd name="connsiteY63" fmla="*/ 2487976 h 2501079"/>
                  <a:gd name="connsiteX64" fmla="*/ 577551 w 2015694"/>
                  <a:gd name="connsiteY64" fmla="*/ 2330225 h 2501079"/>
                  <a:gd name="connsiteX65" fmla="*/ 13102 w 2015694"/>
                  <a:gd name="connsiteY65" fmla="*/ 649407 h 2501079"/>
                  <a:gd name="connsiteX66" fmla="*/ 170853 w 2015694"/>
                  <a:gd name="connsiteY66" fmla="*/ 332135 h 2501079"/>
                  <a:gd name="connsiteX67" fmla="*/ 1120871 w 2015694"/>
                  <a:gd name="connsiteY67" fmla="*/ 13102 h 2501079"/>
                  <a:gd name="connsiteX68" fmla="*/ 1438143 w 2015694"/>
                  <a:gd name="connsiteY68" fmla="*/ 170853 h 2501079"/>
                  <a:gd name="connsiteX69" fmla="*/ 1899652 w 2015694"/>
                  <a:gd name="connsiteY69" fmla="*/ 1545137 h 2501079"/>
                  <a:gd name="connsiteX70" fmla="*/ 1899652 w 2015694"/>
                  <a:gd name="connsiteY70" fmla="*/ 401383 h 2501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2015694" h="2501079">
                    <a:moveTo>
                      <a:pt x="389868" y="519306"/>
                    </a:moveTo>
                    <a:cubicBezTo>
                      <a:pt x="382366" y="496968"/>
                      <a:pt x="362348" y="482362"/>
                      <a:pt x="340242" y="480675"/>
                    </a:cubicBezTo>
                    <a:lnTo>
                      <a:pt x="317828" y="483487"/>
                    </a:lnTo>
                    <a:lnTo>
                      <a:pt x="317828" y="483486"/>
                    </a:lnTo>
                    <a:lnTo>
                      <a:pt x="317827" y="483487"/>
                    </a:lnTo>
                    <a:lnTo>
                      <a:pt x="317828" y="483487"/>
                    </a:lnTo>
                    <a:lnTo>
                      <a:pt x="298259" y="494774"/>
                    </a:lnTo>
                    <a:cubicBezTo>
                      <a:pt x="281653" y="509461"/>
                      <a:pt x="274507" y="533189"/>
                      <a:pt x="282008" y="555527"/>
                    </a:cubicBezTo>
                    <a:lnTo>
                      <a:pt x="559267" y="1381153"/>
                    </a:lnTo>
                    <a:cubicBezTo>
                      <a:pt x="569269" y="1410937"/>
                      <a:pt x="601524" y="1426974"/>
                      <a:pt x="631308" y="1416972"/>
                    </a:cubicBezTo>
                    <a:lnTo>
                      <a:pt x="631308" y="1416973"/>
                    </a:lnTo>
                    <a:cubicBezTo>
                      <a:pt x="661093" y="1406971"/>
                      <a:pt x="677130" y="1374717"/>
                      <a:pt x="667128" y="1344932"/>
                    </a:cubicBezTo>
                    <a:close/>
                    <a:moveTo>
                      <a:pt x="588703" y="452534"/>
                    </a:moveTo>
                    <a:cubicBezTo>
                      <a:pt x="581201" y="430196"/>
                      <a:pt x="561183" y="415590"/>
                      <a:pt x="539077" y="413903"/>
                    </a:cubicBezTo>
                    <a:lnTo>
                      <a:pt x="516662" y="416714"/>
                    </a:lnTo>
                    <a:lnTo>
                      <a:pt x="497094" y="428002"/>
                    </a:lnTo>
                    <a:cubicBezTo>
                      <a:pt x="480487" y="442689"/>
                      <a:pt x="473342" y="466417"/>
                      <a:pt x="480843" y="488755"/>
                    </a:cubicBezTo>
                    <a:lnTo>
                      <a:pt x="758102" y="1314380"/>
                    </a:lnTo>
                    <a:cubicBezTo>
                      <a:pt x="768104" y="1344165"/>
                      <a:pt x="800358" y="1360202"/>
                      <a:pt x="830143" y="1350200"/>
                    </a:cubicBezTo>
                    <a:lnTo>
                      <a:pt x="830143" y="1350201"/>
                    </a:lnTo>
                    <a:cubicBezTo>
                      <a:pt x="859928" y="1340199"/>
                      <a:pt x="875965" y="1307944"/>
                      <a:pt x="865963" y="1278160"/>
                    </a:cubicBezTo>
                    <a:close/>
                    <a:moveTo>
                      <a:pt x="783494" y="387120"/>
                    </a:moveTo>
                    <a:cubicBezTo>
                      <a:pt x="775992" y="364781"/>
                      <a:pt x="755973" y="350176"/>
                      <a:pt x="733868" y="348489"/>
                    </a:cubicBezTo>
                    <a:lnTo>
                      <a:pt x="711453" y="351300"/>
                    </a:lnTo>
                    <a:lnTo>
                      <a:pt x="691885" y="362587"/>
                    </a:lnTo>
                    <a:cubicBezTo>
                      <a:pt x="675278" y="377275"/>
                      <a:pt x="668132" y="401003"/>
                      <a:pt x="675634" y="423341"/>
                    </a:cubicBezTo>
                    <a:lnTo>
                      <a:pt x="952893" y="1248966"/>
                    </a:lnTo>
                    <a:cubicBezTo>
                      <a:pt x="962895" y="1278751"/>
                      <a:pt x="995149" y="1294788"/>
                      <a:pt x="1024934" y="1284786"/>
                    </a:cubicBezTo>
                    <a:lnTo>
                      <a:pt x="1024934" y="1284787"/>
                    </a:lnTo>
                    <a:cubicBezTo>
                      <a:pt x="1054718" y="1274785"/>
                      <a:pt x="1070756" y="1242530"/>
                      <a:pt x="1060753" y="1212746"/>
                    </a:cubicBezTo>
                    <a:close/>
                    <a:moveTo>
                      <a:pt x="1254458" y="1147696"/>
                    </a:moveTo>
                    <a:lnTo>
                      <a:pt x="977198" y="322070"/>
                    </a:lnTo>
                    <a:cubicBezTo>
                      <a:pt x="969696" y="299732"/>
                      <a:pt x="949678" y="285127"/>
                      <a:pt x="927572" y="283440"/>
                    </a:cubicBezTo>
                    <a:lnTo>
                      <a:pt x="905157" y="286251"/>
                    </a:lnTo>
                    <a:lnTo>
                      <a:pt x="885589" y="297538"/>
                    </a:lnTo>
                    <a:cubicBezTo>
                      <a:pt x="868982" y="312225"/>
                      <a:pt x="861837" y="335953"/>
                      <a:pt x="869338" y="358292"/>
                    </a:cubicBezTo>
                    <a:lnTo>
                      <a:pt x="1146597" y="1183917"/>
                    </a:lnTo>
                    <a:cubicBezTo>
                      <a:pt x="1156599" y="1213701"/>
                      <a:pt x="1188854" y="1229738"/>
                      <a:pt x="1218638" y="1219736"/>
                    </a:cubicBezTo>
                    <a:lnTo>
                      <a:pt x="1218638" y="1219737"/>
                    </a:lnTo>
                    <a:cubicBezTo>
                      <a:pt x="1248423" y="1209735"/>
                      <a:pt x="1264460" y="1177481"/>
                      <a:pt x="1254458" y="1147696"/>
                    </a:cubicBezTo>
                    <a:close/>
                    <a:moveTo>
                      <a:pt x="1522837" y="1709825"/>
                    </a:moveTo>
                    <a:cubicBezTo>
                      <a:pt x="1581022" y="1883087"/>
                      <a:pt x="1484239" y="2071886"/>
                      <a:pt x="1306666" y="2131518"/>
                    </a:cubicBezTo>
                    <a:cubicBezTo>
                      <a:pt x="1129094" y="2191150"/>
                      <a:pt x="937975" y="2099034"/>
                      <a:pt x="879790" y="1925771"/>
                    </a:cubicBezTo>
                    <a:cubicBezTo>
                      <a:pt x="821606" y="1752509"/>
                      <a:pt x="918388" y="1563710"/>
                      <a:pt x="1095961" y="1504078"/>
                    </a:cubicBezTo>
                    <a:cubicBezTo>
                      <a:pt x="1273534" y="1444446"/>
                      <a:pt x="1464653" y="1536563"/>
                      <a:pt x="1522837" y="1709825"/>
                    </a:cubicBezTo>
                    <a:close/>
                    <a:moveTo>
                      <a:pt x="1593127" y="1686220"/>
                    </a:moveTo>
                    <a:cubicBezTo>
                      <a:pt x="1521905" y="1474138"/>
                      <a:pt x="1288749" y="1361120"/>
                      <a:pt x="1072356" y="1433789"/>
                    </a:cubicBezTo>
                    <a:cubicBezTo>
                      <a:pt x="855964" y="1506457"/>
                      <a:pt x="738279" y="1737293"/>
                      <a:pt x="809501" y="1949376"/>
                    </a:cubicBezTo>
                    <a:cubicBezTo>
                      <a:pt x="880722" y="2161459"/>
                      <a:pt x="1113878" y="2274476"/>
                      <a:pt x="1330271" y="2201807"/>
                    </a:cubicBezTo>
                    <a:cubicBezTo>
                      <a:pt x="1546663" y="2129139"/>
                      <a:pt x="1664348" y="1898303"/>
                      <a:pt x="1593127" y="1686220"/>
                    </a:cubicBezTo>
                    <a:close/>
                    <a:moveTo>
                      <a:pt x="1443557" y="1084193"/>
                    </a:moveTo>
                    <a:lnTo>
                      <a:pt x="1166297" y="258568"/>
                    </a:lnTo>
                    <a:cubicBezTo>
                      <a:pt x="1158795" y="236229"/>
                      <a:pt x="1138777" y="221624"/>
                      <a:pt x="1116671" y="219937"/>
                    </a:cubicBezTo>
                    <a:lnTo>
                      <a:pt x="1094257" y="222748"/>
                    </a:lnTo>
                    <a:lnTo>
                      <a:pt x="1074688" y="234035"/>
                    </a:lnTo>
                    <a:cubicBezTo>
                      <a:pt x="1058081" y="248723"/>
                      <a:pt x="1050936" y="272450"/>
                      <a:pt x="1058437" y="294789"/>
                    </a:cubicBezTo>
                    <a:lnTo>
                      <a:pt x="1335696" y="1120414"/>
                    </a:lnTo>
                    <a:cubicBezTo>
                      <a:pt x="1345698" y="1150198"/>
                      <a:pt x="1377953" y="1166236"/>
                      <a:pt x="1407737" y="1156234"/>
                    </a:cubicBezTo>
                    <a:cubicBezTo>
                      <a:pt x="1437522" y="1146232"/>
                      <a:pt x="1453559" y="1113978"/>
                      <a:pt x="1443557" y="1084193"/>
                    </a:cubicBezTo>
                    <a:close/>
                    <a:moveTo>
                      <a:pt x="2010796" y="401383"/>
                    </a:moveTo>
                    <a:lnTo>
                      <a:pt x="2010796" y="1887765"/>
                    </a:lnTo>
                    <a:lnTo>
                      <a:pt x="2013841" y="1901159"/>
                    </a:lnTo>
                    <a:cubicBezTo>
                      <a:pt x="2028040" y="2016826"/>
                      <a:pt x="1959618" y="2130399"/>
                      <a:pt x="1844841" y="2168943"/>
                    </a:cubicBezTo>
                    <a:lnTo>
                      <a:pt x="894823" y="2487976"/>
                    </a:lnTo>
                    <a:cubicBezTo>
                      <a:pt x="763649" y="2532027"/>
                      <a:pt x="621602" y="2461399"/>
                      <a:pt x="577551" y="2330225"/>
                    </a:cubicBezTo>
                    <a:lnTo>
                      <a:pt x="13102" y="649407"/>
                    </a:lnTo>
                    <a:cubicBezTo>
                      <a:pt x="-30948" y="518233"/>
                      <a:pt x="39679" y="376186"/>
                      <a:pt x="170853" y="332135"/>
                    </a:cubicBezTo>
                    <a:lnTo>
                      <a:pt x="1120871" y="13102"/>
                    </a:lnTo>
                    <a:cubicBezTo>
                      <a:pt x="1252045" y="-30948"/>
                      <a:pt x="1394092" y="39679"/>
                      <a:pt x="1438143" y="170853"/>
                    </a:cubicBezTo>
                    <a:lnTo>
                      <a:pt x="1899652" y="1545137"/>
                    </a:lnTo>
                    <a:lnTo>
                      <a:pt x="1899652" y="401383"/>
                    </a:lnTo>
                    <a:close/>
                  </a:path>
                </a:pathLst>
              </a:custGeom>
              <a:solidFill>
                <a:srgbClr val="7F7F7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CH"/>
              </a:p>
            </p:txBody>
          </p:sp>
          <p:sp>
            <p:nvSpPr>
              <p:cNvPr id="197" name="Textfeld 196">
                <a:extLst>
                  <a:ext uri="{FF2B5EF4-FFF2-40B4-BE49-F238E27FC236}">
                    <a16:creationId xmlns:a16="http://schemas.microsoft.com/office/drawing/2014/main" id="{4B297488-8E0D-47D4-B41E-1646C3E9AB23}"/>
                  </a:ext>
                </a:extLst>
              </p:cNvPr>
              <p:cNvSpPr txBox="1"/>
              <p:nvPr/>
            </p:nvSpPr>
            <p:spPr>
              <a:xfrm>
                <a:off x="755102" y="6011422"/>
                <a:ext cx="444461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de-CH" sz="900" b="1" dirty="0" err="1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j-lt"/>
                  </a:rPr>
                  <a:t>Analogue</a:t>
                </a:r>
                <a:r>
                  <a:rPr lang="de-CH" sz="9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j-lt"/>
                  </a:rPr>
                  <a:t>/FM</a:t>
                </a:r>
              </a:p>
            </p:txBody>
          </p:sp>
        </p:grpSp>
        <p:grpSp>
          <p:nvGrpSpPr>
            <p:cNvPr id="176" name="Gruppieren 175">
              <a:extLst>
                <a:ext uri="{FF2B5EF4-FFF2-40B4-BE49-F238E27FC236}">
                  <a16:creationId xmlns:a16="http://schemas.microsoft.com/office/drawing/2014/main" id="{1CFEDA41-0931-47C0-93C1-A6DB805DEB30}"/>
                </a:ext>
              </a:extLst>
            </p:cNvPr>
            <p:cNvGrpSpPr/>
            <p:nvPr/>
          </p:nvGrpSpPr>
          <p:grpSpPr>
            <a:xfrm>
              <a:off x="1862552" y="6021006"/>
              <a:ext cx="918201" cy="288369"/>
              <a:chOff x="2331436" y="6009918"/>
              <a:chExt cx="918201" cy="288369"/>
            </a:xfrm>
          </p:grpSpPr>
          <p:grpSp>
            <p:nvGrpSpPr>
              <p:cNvPr id="183" name="Gruppieren 182">
                <a:extLst>
                  <a:ext uri="{FF2B5EF4-FFF2-40B4-BE49-F238E27FC236}">
                    <a16:creationId xmlns:a16="http://schemas.microsoft.com/office/drawing/2014/main" id="{73D49342-8874-4D09-AD1F-837AC35A57A9}"/>
                  </a:ext>
                </a:extLst>
              </p:cNvPr>
              <p:cNvGrpSpPr/>
              <p:nvPr/>
            </p:nvGrpSpPr>
            <p:grpSpPr>
              <a:xfrm>
                <a:off x="2331436" y="6009918"/>
                <a:ext cx="359606" cy="280007"/>
                <a:chOff x="4499071" y="2060847"/>
                <a:chExt cx="852894" cy="720080"/>
              </a:xfrm>
              <a:solidFill>
                <a:srgbClr val="404040"/>
              </a:solidFill>
            </p:grpSpPr>
            <p:sp>
              <p:nvSpPr>
                <p:cNvPr id="185" name="Freihandform: Form 184">
                  <a:extLst>
                    <a:ext uri="{FF2B5EF4-FFF2-40B4-BE49-F238E27FC236}">
                      <a16:creationId xmlns:a16="http://schemas.microsoft.com/office/drawing/2014/main" id="{2FBC9605-252C-4B8C-A54E-83EDA97F4E11}"/>
                    </a:ext>
                  </a:extLst>
                </p:cNvPr>
                <p:cNvSpPr/>
                <p:nvPr/>
              </p:nvSpPr>
              <p:spPr>
                <a:xfrm>
                  <a:off x="4499071" y="2060847"/>
                  <a:ext cx="833058" cy="720080"/>
                </a:xfrm>
                <a:custGeom>
                  <a:avLst/>
                  <a:gdLst>
                    <a:gd name="connsiteX0" fmla="*/ 29582 w 833058"/>
                    <a:gd name="connsiteY0" fmla="*/ 0 h 720080"/>
                    <a:gd name="connsiteX1" fmla="*/ 803476 w 833058"/>
                    <a:gd name="connsiteY1" fmla="*/ 0 h 720080"/>
                    <a:gd name="connsiteX2" fmla="*/ 833058 w 833058"/>
                    <a:gd name="connsiteY2" fmla="*/ 29582 h 720080"/>
                    <a:gd name="connsiteX3" fmla="*/ 833058 w 833058"/>
                    <a:gd name="connsiteY3" fmla="*/ 311680 h 720080"/>
                    <a:gd name="connsiteX4" fmla="*/ 813876 w 833058"/>
                    <a:gd name="connsiteY4" fmla="*/ 303734 h 720080"/>
                    <a:gd name="connsiteX5" fmla="*/ 785375 w 833058"/>
                    <a:gd name="connsiteY5" fmla="*/ 303734 h 720080"/>
                    <a:gd name="connsiteX6" fmla="*/ 785375 w 833058"/>
                    <a:gd name="connsiteY6" fmla="*/ 69496 h 720080"/>
                    <a:gd name="connsiteX7" fmla="*/ 760626 w 833058"/>
                    <a:gd name="connsiteY7" fmla="*/ 44747 h 720080"/>
                    <a:gd name="connsiteX8" fmla="*/ 72433 w 833058"/>
                    <a:gd name="connsiteY8" fmla="*/ 44747 h 720080"/>
                    <a:gd name="connsiteX9" fmla="*/ 47684 w 833058"/>
                    <a:gd name="connsiteY9" fmla="*/ 69496 h 720080"/>
                    <a:gd name="connsiteX10" fmla="*/ 47684 w 833058"/>
                    <a:gd name="connsiteY10" fmla="*/ 478220 h 720080"/>
                    <a:gd name="connsiteX11" fmla="*/ 72433 w 833058"/>
                    <a:gd name="connsiteY11" fmla="*/ 502969 h 720080"/>
                    <a:gd name="connsiteX12" fmla="*/ 599582 w 833058"/>
                    <a:gd name="connsiteY12" fmla="*/ 502969 h 720080"/>
                    <a:gd name="connsiteX13" fmla="*/ 599582 w 833058"/>
                    <a:gd name="connsiteY13" fmla="*/ 547716 h 720080"/>
                    <a:gd name="connsiteX14" fmla="*/ 501553 w 833058"/>
                    <a:gd name="connsiteY14" fmla="*/ 547716 h 720080"/>
                    <a:gd name="connsiteX15" fmla="*/ 501553 w 833058"/>
                    <a:gd name="connsiteY15" fmla="*/ 649014 h 720080"/>
                    <a:gd name="connsiteX16" fmla="*/ 580320 w 833058"/>
                    <a:gd name="connsiteY16" fmla="*/ 649014 h 720080"/>
                    <a:gd name="connsiteX17" fmla="*/ 599582 w 833058"/>
                    <a:gd name="connsiteY17" fmla="*/ 656993 h 720080"/>
                    <a:gd name="connsiteX18" fmla="*/ 599582 w 833058"/>
                    <a:gd name="connsiteY18" fmla="*/ 677596 h 720080"/>
                    <a:gd name="connsiteX19" fmla="*/ 609157 w 833058"/>
                    <a:gd name="connsiteY19" fmla="*/ 700711 h 720080"/>
                    <a:gd name="connsiteX20" fmla="*/ 605445 w 833058"/>
                    <a:gd name="connsiteY20" fmla="*/ 709673 h 720080"/>
                    <a:gd name="connsiteX21" fmla="*/ 580319 w 833058"/>
                    <a:gd name="connsiteY21" fmla="*/ 720080 h 720080"/>
                    <a:gd name="connsiteX22" fmla="*/ 198948 w 833058"/>
                    <a:gd name="connsiteY22" fmla="*/ 720079 h 720080"/>
                    <a:gd name="connsiteX23" fmla="*/ 173823 w 833058"/>
                    <a:gd name="connsiteY23" fmla="*/ 709672 h 720080"/>
                    <a:gd name="connsiteX24" fmla="*/ 163415 w 833058"/>
                    <a:gd name="connsiteY24" fmla="*/ 684547 h 720080"/>
                    <a:gd name="connsiteX25" fmla="*/ 173823 w 833058"/>
                    <a:gd name="connsiteY25" fmla="*/ 659422 h 720080"/>
                    <a:gd name="connsiteX26" fmla="*/ 198948 w 833058"/>
                    <a:gd name="connsiteY26" fmla="*/ 649014 h 720080"/>
                    <a:gd name="connsiteX27" fmla="*/ 313434 w 833058"/>
                    <a:gd name="connsiteY27" fmla="*/ 649014 h 720080"/>
                    <a:gd name="connsiteX28" fmla="*/ 313434 w 833058"/>
                    <a:gd name="connsiteY28" fmla="*/ 547716 h 720080"/>
                    <a:gd name="connsiteX29" fmla="*/ 29582 w 833058"/>
                    <a:gd name="connsiteY29" fmla="*/ 547716 h 720080"/>
                    <a:gd name="connsiteX30" fmla="*/ 0 w 833058"/>
                    <a:gd name="connsiteY30" fmla="*/ 518134 h 720080"/>
                    <a:gd name="connsiteX31" fmla="*/ 0 w 833058"/>
                    <a:gd name="connsiteY31" fmla="*/ 29582 h 720080"/>
                    <a:gd name="connsiteX32" fmla="*/ 29582 w 833058"/>
                    <a:gd name="connsiteY32" fmla="*/ 0 h 7200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</a:cxnLst>
                  <a:rect l="l" t="t" r="r" b="b"/>
                  <a:pathLst>
                    <a:path w="833058" h="720080">
                      <a:moveTo>
                        <a:pt x="29582" y="0"/>
                      </a:moveTo>
                      <a:lnTo>
                        <a:pt x="803476" y="0"/>
                      </a:lnTo>
                      <a:cubicBezTo>
                        <a:pt x="819814" y="0"/>
                        <a:pt x="833058" y="13244"/>
                        <a:pt x="833058" y="29582"/>
                      </a:cubicBezTo>
                      <a:lnTo>
                        <a:pt x="833058" y="311680"/>
                      </a:lnTo>
                      <a:lnTo>
                        <a:pt x="813876" y="303734"/>
                      </a:lnTo>
                      <a:lnTo>
                        <a:pt x="785375" y="303734"/>
                      </a:lnTo>
                      <a:lnTo>
                        <a:pt x="785375" y="69496"/>
                      </a:lnTo>
                      <a:cubicBezTo>
                        <a:pt x="785375" y="55828"/>
                        <a:pt x="774294" y="44747"/>
                        <a:pt x="760626" y="44747"/>
                      </a:cubicBezTo>
                      <a:lnTo>
                        <a:pt x="72433" y="44747"/>
                      </a:lnTo>
                      <a:cubicBezTo>
                        <a:pt x="58765" y="44747"/>
                        <a:pt x="47684" y="55828"/>
                        <a:pt x="47684" y="69496"/>
                      </a:cubicBezTo>
                      <a:lnTo>
                        <a:pt x="47684" y="478220"/>
                      </a:lnTo>
                      <a:cubicBezTo>
                        <a:pt x="47684" y="491888"/>
                        <a:pt x="58765" y="502969"/>
                        <a:pt x="72433" y="502969"/>
                      </a:cubicBezTo>
                      <a:lnTo>
                        <a:pt x="599582" y="502969"/>
                      </a:lnTo>
                      <a:lnTo>
                        <a:pt x="599582" y="547716"/>
                      </a:lnTo>
                      <a:lnTo>
                        <a:pt x="501553" y="547716"/>
                      </a:lnTo>
                      <a:lnTo>
                        <a:pt x="501553" y="649014"/>
                      </a:lnTo>
                      <a:lnTo>
                        <a:pt x="580320" y="649014"/>
                      </a:lnTo>
                      <a:lnTo>
                        <a:pt x="599582" y="656993"/>
                      </a:lnTo>
                      <a:lnTo>
                        <a:pt x="599582" y="677596"/>
                      </a:lnTo>
                      <a:lnTo>
                        <a:pt x="609157" y="700711"/>
                      </a:lnTo>
                      <a:lnTo>
                        <a:pt x="605445" y="709673"/>
                      </a:lnTo>
                      <a:cubicBezTo>
                        <a:pt x="599014" y="716103"/>
                        <a:pt x="590131" y="720080"/>
                        <a:pt x="580319" y="720080"/>
                      </a:cubicBezTo>
                      <a:lnTo>
                        <a:pt x="198948" y="720079"/>
                      </a:lnTo>
                      <a:cubicBezTo>
                        <a:pt x="189136" y="720079"/>
                        <a:pt x="180253" y="716102"/>
                        <a:pt x="173823" y="709672"/>
                      </a:cubicBezTo>
                      <a:lnTo>
                        <a:pt x="163415" y="684547"/>
                      </a:lnTo>
                      <a:lnTo>
                        <a:pt x="173823" y="659422"/>
                      </a:lnTo>
                      <a:cubicBezTo>
                        <a:pt x="180253" y="652991"/>
                        <a:pt x="189136" y="649014"/>
                        <a:pt x="198948" y="649014"/>
                      </a:cubicBezTo>
                      <a:lnTo>
                        <a:pt x="313434" y="649014"/>
                      </a:lnTo>
                      <a:lnTo>
                        <a:pt x="313434" y="547716"/>
                      </a:lnTo>
                      <a:lnTo>
                        <a:pt x="29582" y="547716"/>
                      </a:lnTo>
                      <a:cubicBezTo>
                        <a:pt x="13244" y="547716"/>
                        <a:pt x="0" y="534472"/>
                        <a:pt x="0" y="518134"/>
                      </a:cubicBezTo>
                      <a:lnTo>
                        <a:pt x="0" y="29582"/>
                      </a:lnTo>
                      <a:cubicBezTo>
                        <a:pt x="0" y="13244"/>
                        <a:pt x="13244" y="0"/>
                        <a:pt x="29582" y="0"/>
                      </a:cubicBez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/>
                </a:p>
              </p:txBody>
            </p:sp>
            <p:sp>
              <p:nvSpPr>
                <p:cNvPr id="186" name="Rechteck 185">
                  <a:extLst>
                    <a:ext uri="{FF2B5EF4-FFF2-40B4-BE49-F238E27FC236}">
                      <a16:creationId xmlns:a16="http://schemas.microsoft.com/office/drawing/2014/main" id="{7595673F-BB54-4F7B-AD56-1B4DCBBE95A1}"/>
                    </a:ext>
                  </a:extLst>
                </p:cNvPr>
                <p:cNvSpPr/>
                <p:nvPr/>
              </p:nvSpPr>
              <p:spPr>
                <a:xfrm>
                  <a:off x="4612481" y="2169319"/>
                  <a:ext cx="597693" cy="128587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/>
                </a:p>
              </p:txBody>
            </p:sp>
            <p:sp>
              <p:nvSpPr>
                <p:cNvPr id="187" name="Rechteck 186">
                  <a:extLst>
                    <a:ext uri="{FF2B5EF4-FFF2-40B4-BE49-F238E27FC236}">
                      <a16:creationId xmlns:a16="http://schemas.microsoft.com/office/drawing/2014/main" id="{21535984-189F-4FE4-B3CF-18040D942C25}"/>
                    </a:ext>
                  </a:extLst>
                </p:cNvPr>
                <p:cNvSpPr/>
                <p:nvPr/>
              </p:nvSpPr>
              <p:spPr>
                <a:xfrm>
                  <a:off x="4612481" y="2336753"/>
                  <a:ext cx="390525" cy="177847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/>
                </a:p>
              </p:txBody>
            </p:sp>
            <p:sp>
              <p:nvSpPr>
                <p:cNvPr id="188" name="Freihandform: Form 187">
                  <a:extLst>
                    <a:ext uri="{FF2B5EF4-FFF2-40B4-BE49-F238E27FC236}">
                      <a16:creationId xmlns:a16="http://schemas.microsoft.com/office/drawing/2014/main" id="{5748E9CE-26E8-4FA2-ADCD-8CAECC24F26C}"/>
                    </a:ext>
                  </a:extLst>
                </p:cNvPr>
                <p:cNvSpPr/>
                <p:nvPr/>
              </p:nvSpPr>
              <p:spPr>
                <a:xfrm>
                  <a:off x="5050023" y="2336753"/>
                  <a:ext cx="160151" cy="177847"/>
                </a:xfrm>
                <a:custGeom>
                  <a:avLst/>
                  <a:gdLst>
                    <a:gd name="connsiteX0" fmla="*/ 0 w 160151"/>
                    <a:gd name="connsiteY0" fmla="*/ 0 h 177847"/>
                    <a:gd name="connsiteX1" fmla="*/ 160151 w 160151"/>
                    <a:gd name="connsiteY1" fmla="*/ 0 h 177847"/>
                    <a:gd name="connsiteX2" fmla="*/ 160151 w 160151"/>
                    <a:gd name="connsiteY2" fmla="*/ 27828 h 177847"/>
                    <a:gd name="connsiteX3" fmla="*/ 91114 w 160151"/>
                    <a:gd name="connsiteY3" fmla="*/ 27828 h 177847"/>
                    <a:gd name="connsiteX4" fmla="*/ 48630 w 160151"/>
                    <a:gd name="connsiteY4" fmla="*/ 70312 h 177847"/>
                    <a:gd name="connsiteX5" fmla="*/ 48630 w 160151"/>
                    <a:gd name="connsiteY5" fmla="*/ 177847 h 177847"/>
                    <a:gd name="connsiteX6" fmla="*/ 0 w 160151"/>
                    <a:gd name="connsiteY6" fmla="*/ 177847 h 1778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0151" h="177847">
                      <a:moveTo>
                        <a:pt x="0" y="0"/>
                      </a:moveTo>
                      <a:lnTo>
                        <a:pt x="160151" y="0"/>
                      </a:lnTo>
                      <a:lnTo>
                        <a:pt x="160151" y="27828"/>
                      </a:lnTo>
                      <a:lnTo>
                        <a:pt x="91114" y="27828"/>
                      </a:lnTo>
                      <a:cubicBezTo>
                        <a:pt x="67651" y="27828"/>
                        <a:pt x="48630" y="46849"/>
                        <a:pt x="48630" y="70312"/>
                      </a:cubicBezTo>
                      <a:lnTo>
                        <a:pt x="48630" y="177847"/>
                      </a:lnTo>
                      <a:lnTo>
                        <a:pt x="0" y="17784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/>
                </a:p>
              </p:txBody>
            </p:sp>
            <p:sp>
              <p:nvSpPr>
                <p:cNvPr id="190" name="Freihandform: Form 189">
                  <a:extLst>
                    <a:ext uri="{FF2B5EF4-FFF2-40B4-BE49-F238E27FC236}">
                      <a16:creationId xmlns:a16="http://schemas.microsoft.com/office/drawing/2014/main" id="{42A7AE34-19FC-4050-B354-5D5F41FA766E}"/>
                    </a:ext>
                  </a:extLst>
                </p:cNvPr>
                <p:cNvSpPr/>
                <p:nvPr/>
              </p:nvSpPr>
              <p:spPr>
                <a:xfrm>
                  <a:off x="5117306" y="2383631"/>
                  <a:ext cx="234659" cy="397296"/>
                </a:xfrm>
                <a:custGeom>
                  <a:avLst/>
                  <a:gdLst>
                    <a:gd name="connsiteX0" fmla="*/ 102329 w 234659"/>
                    <a:gd name="connsiteY0" fmla="*/ 359320 h 397296"/>
                    <a:gd name="connsiteX1" fmla="*/ 99329 w 234659"/>
                    <a:gd name="connsiteY1" fmla="*/ 362320 h 397296"/>
                    <a:gd name="connsiteX2" fmla="*/ 99329 w 234659"/>
                    <a:gd name="connsiteY2" fmla="*/ 374320 h 397296"/>
                    <a:gd name="connsiteX3" fmla="*/ 102329 w 234659"/>
                    <a:gd name="connsiteY3" fmla="*/ 377320 h 397296"/>
                    <a:gd name="connsiteX4" fmla="*/ 132329 w 234659"/>
                    <a:gd name="connsiteY4" fmla="*/ 377320 h 397296"/>
                    <a:gd name="connsiteX5" fmla="*/ 135329 w 234659"/>
                    <a:gd name="connsiteY5" fmla="*/ 374320 h 397296"/>
                    <a:gd name="connsiteX6" fmla="*/ 135329 w 234659"/>
                    <a:gd name="connsiteY6" fmla="*/ 362320 h 397296"/>
                    <a:gd name="connsiteX7" fmla="*/ 132329 w 234659"/>
                    <a:gd name="connsiteY7" fmla="*/ 359320 h 397296"/>
                    <a:gd name="connsiteX8" fmla="*/ 29777 w 234659"/>
                    <a:gd name="connsiteY8" fmla="*/ 57150 h 397296"/>
                    <a:gd name="connsiteX9" fmla="*/ 18507 w 234659"/>
                    <a:gd name="connsiteY9" fmla="*/ 68420 h 397296"/>
                    <a:gd name="connsiteX10" fmla="*/ 18507 w 234659"/>
                    <a:gd name="connsiteY10" fmla="*/ 334012 h 397296"/>
                    <a:gd name="connsiteX11" fmla="*/ 29777 w 234659"/>
                    <a:gd name="connsiteY11" fmla="*/ 345282 h 397296"/>
                    <a:gd name="connsiteX12" fmla="*/ 204882 w 234659"/>
                    <a:gd name="connsiteY12" fmla="*/ 345282 h 397296"/>
                    <a:gd name="connsiteX13" fmla="*/ 216152 w 234659"/>
                    <a:gd name="connsiteY13" fmla="*/ 334012 h 397296"/>
                    <a:gd name="connsiteX14" fmla="*/ 216152 w 234659"/>
                    <a:gd name="connsiteY14" fmla="*/ 68420 h 397296"/>
                    <a:gd name="connsiteX15" fmla="*/ 204882 w 234659"/>
                    <a:gd name="connsiteY15" fmla="*/ 57150 h 397296"/>
                    <a:gd name="connsiteX16" fmla="*/ 38824 w 234659"/>
                    <a:gd name="connsiteY16" fmla="*/ 0 h 397296"/>
                    <a:gd name="connsiteX17" fmla="*/ 195835 w 234659"/>
                    <a:gd name="connsiteY17" fmla="*/ 0 h 397296"/>
                    <a:gd name="connsiteX18" fmla="*/ 234659 w 234659"/>
                    <a:gd name="connsiteY18" fmla="*/ 38824 h 397296"/>
                    <a:gd name="connsiteX19" fmla="*/ 234659 w 234659"/>
                    <a:gd name="connsiteY19" fmla="*/ 358472 h 397296"/>
                    <a:gd name="connsiteX20" fmla="*/ 195835 w 234659"/>
                    <a:gd name="connsiteY20" fmla="*/ 397296 h 397296"/>
                    <a:gd name="connsiteX21" fmla="*/ 38824 w 234659"/>
                    <a:gd name="connsiteY21" fmla="*/ 397296 h 397296"/>
                    <a:gd name="connsiteX22" fmla="*/ 0 w 234659"/>
                    <a:gd name="connsiteY22" fmla="*/ 358472 h 397296"/>
                    <a:gd name="connsiteX23" fmla="*/ 0 w 234659"/>
                    <a:gd name="connsiteY23" fmla="*/ 38824 h 397296"/>
                    <a:gd name="connsiteX24" fmla="*/ 38824 w 234659"/>
                    <a:gd name="connsiteY24" fmla="*/ 0 h 3972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234659" h="397296">
                      <a:moveTo>
                        <a:pt x="102329" y="359320"/>
                      </a:moveTo>
                      <a:cubicBezTo>
                        <a:pt x="100672" y="359320"/>
                        <a:pt x="99329" y="360663"/>
                        <a:pt x="99329" y="362320"/>
                      </a:cubicBezTo>
                      <a:lnTo>
                        <a:pt x="99329" y="374320"/>
                      </a:lnTo>
                      <a:cubicBezTo>
                        <a:pt x="99329" y="375977"/>
                        <a:pt x="100672" y="377320"/>
                        <a:pt x="102329" y="377320"/>
                      </a:cubicBezTo>
                      <a:lnTo>
                        <a:pt x="132329" y="377320"/>
                      </a:lnTo>
                      <a:cubicBezTo>
                        <a:pt x="133986" y="377320"/>
                        <a:pt x="135329" y="375977"/>
                        <a:pt x="135329" y="374320"/>
                      </a:cubicBezTo>
                      <a:lnTo>
                        <a:pt x="135329" y="362320"/>
                      </a:lnTo>
                      <a:cubicBezTo>
                        <a:pt x="135329" y="360663"/>
                        <a:pt x="133986" y="359320"/>
                        <a:pt x="132329" y="359320"/>
                      </a:cubicBezTo>
                      <a:close/>
                      <a:moveTo>
                        <a:pt x="29777" y="57150"/>
                      </a:moveTo>
                      <a:cubicBezTo>
                        <a:pt x="23553" y="57150"/>
                        <a:pt x="18507" y="62196"/>
                        <a:pt x="18507" y="68420"/>
                      </a:cubicBezTo>
                      <a:lnTo>
                        <a:pt x="18507" y="334012"/>
                      </a:lnTo>
                      <a:cubicBezTo>
                        <a:pt x="18507" y="340236"/>
                        <a:pt x="23553" y="345282"/>
                        <a:pt x="29777" y="345282"/>
                      </a:cubicBezTo>
                      <a:lnTo>
                        <a:pt x="204882" y="345282"/>
                      </a:lnTo>
                      <a:cubicBezTo>
                        <a:pt x="211106" y="345282"/>
                        <a:pt x="216152" y="340236"/>
                        <a:pt x="216152" y="334012"/>
                      </a:cubicBezTo>
                      <a:lnTo>
                        <a:pt x="216152" y="68420"/>
                      </a:lnTo>
                      <a:cubicBezTo>
                        <a:pt x="216152" y="62196"/>
                        <a:pt x="211106" y="57150"/>
                        <a:pt x="204882" y="57150"/>
                      </a:cubicBezTo>
                      <a:close/>
                      <a:moveTo>
                        <a:pt x="38824" y="0"/>
                      </a:moveTo>
                      <a:lnTo>
                        <a:pt x="195835" y="0"/>
                      </a:lnTo>
                      <a:cubicBezTo>
                        <a:pt x="217277" y="0"/>
                        <a:pt x="234659" y="17382"/>
                        <a:pt x="234659" y="38824"/>
                      </a:cubicBezTo>
                      <a:lnTo>
                        <a:pt x="234659" y="358472"/>
                      </a:lnTo>
                      <a:cubicBezTo>
                        <a:pt x="234659" y="379914"/>
                        <a:pt x="217277" y="397296"/>
                        <a:pt x="195835" y="397296"/>
                      </a:cubicBezTo>
                      <a:lnTo>
                        <a:pt x="38824" y="397296"/>
                      </a:lnTo>
                      <a:cubicBezTo>
                        <a:pt x="17382" y="397296"/>
                        <a:pt x="0" y="379914"/>
                        <a:pt x="0" y="358472"/>
                      </a:cubicBezTo>
                      <a:lnTo>
                        <a:pt x="0" y="38824"/>
                      </a:lnTo>
                      <a:cubicBezTo>
                        <a:pt x="0" y="17382"/>
                        <a:pt x="17382" y="0"/>
                        <a:pt x="38824" y="0"/>
                      </a:cubicBezTo>
                      <a:close/>
                    </a:path>
                  </a:pathLst>
                </a:custGeom>
                <a:grpFill/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/>
                </a:p>
              </p:txBody>
            </p:sp>
            <p:sp>
              <p:nvSpPr>
                <p:cNvPr id="193" name="Rechteck 192">
                  <a:extLst>
                    <a:ext uri="{FF2B5EF4-FFF2-40B4-BE49-F238E27FC236}">
                      <a16:creationId xmlns:a16="http://schemas.microsoft.com/office/drawing/2014/main" id="{E92B466A-03ED-4537-B4EC-5E6B547E1336}"/>
                    </a:ext>
                  </a:extLst>
                </p:cNvPr>
                <p:cNvSpPr/>
                <p:nvPr/>
              </p:nvSpPr>
              <p:spPr>
                <a:xfrm>
                  <a:off x="5169420" y="2465340"/>
                  <a:ext cx="126479" cy="56404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/>
                </a:p>
              </p:txBody>
            </p:sp>
            <p:sp>
              <p:nvSpPr>
                <p:cNvPr id="194" name="Rechteck 193">
                  <a:extLst>
                    <a:ext uri="{FF2B5EF4-FFF2-40B4-BE49-F238E27FC236}">
                      <a16:creationId xmlns:a16="http://schemas.microsoft.com/office/drawing/2014/main" id="{5CB278E1-DD36-4C3E-AAC6-979CA8FCB72F}"/>
                    </a:ext>
                  </a:extLst>
                </p:cNvPr>
                <p:cNvSpPr/>
                <p:nvPr/>
              </p:nvSpPr>
              <p:spPr>
                <a:xfrm>
                  <a:off x="5169420" y="2553502"/>
                  <a:ext cx="126479" cy="56404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/>
                </a:p>
              </p:txBody>
            </p:sp>
            <p:sp>
              <p:nvSpPr>
                <p:cNvPr id="195" name="Rechteck 194">
                  <a:extLst>
                    <a:ext uri="{FF2B5EF4-FFF2-40B4-BE49-F238E27FC236}">
                      <a16:creationId xmlns:a16="http://schemas.microsoft.com/office/drawing/2014/main" id="{F8C68151-520F-4E29-B054-500CEB5717C9}"/>
                    </a:ext>
                  </a:extLst>
                </p:cNvPr>
                <p:cNvSpPr/>
                <p:nvPr/>
              </p:nvSpPr>
              <p:spPr>
                <a:xfrm>
                  <a:off x="5169420" y="2641664"/>
                  <a:ext cx="126479" cy="56404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/>
                </a:p>
              </p:txBody>
            </p:sp>
          </p:grpSp>
          <p:sp>
            <p:nvSpPr>
              <p:cNvPr id="184" name="Textfeld 183">
                <a:extLst>
                  <a:ext uri="{FF2B5EF4-FFF2-40B4-BE49-F238E27FC236}">
                    <a16:creationId xmlns:a16="http://schemas.microsoft.com/office/drawing/2014/main" id="{614C66CD-563B-4C12-9013-35226C29962B}"/>
                  </a:ext>
                </a:extLst>
              </p:cNvPr>
              <p:cNvSpPr txBox="1"/>
              <p:nvPr/>
            </p:nvSpPr>
            <p:spPr>
              <a:xfrm>
                <a:off x="2758544" y="6021288"/>
                <a:ext cx="491093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de-CH" sz="900" b="1" dirty="0">
                    <a:solidFill>
                      <a:srgbClr val="404040"/>
                    </a:solidFill>
                    <a:latin typeface="+mj-lt"/>
                  </a:rPr>
                  <a:t>Internet/</a:t>
                </a:r>
                <a:br>
                  <a:rPr lang="de-CH" sz="900" b="1" dirty="0">
                    <a:solidFill>
                      <a:srgbClr val="404040"/>
                    </a:solidFill>
                    <a:latin typeface="+mj-lt"/>
                  </a:rPr>
                </a:br>
                <a:r>
                  <a:rPr lang="de-CH" sz="900" b="1" dirty="0">
                    <a:solidFill>
                      <a:srgbClr val="404040"/>
                    </a:solidFill>
                    <a:latin typeface="+mj-lt"/>
                  </a:rPr>
                  <a:t>Digital</a:t>
                </a:r>
              </a:p>
            </p:txBody>
          </p:sp>
        </p:grpSp>
        <p:pic>
          <p:nvPicPr>
            <p:cNvPr id="177" name="Grafik 176">
              <a:extLst>
                <a:ext uri="{FF2B5EF4-FFF2-40B4-BE49-F238E27FC236}">
                  <a16:creationId xmlns:a16="http://schemas.microsoft.com/office/drawing/2014/main" id="{CCC862BC-9DE0-4665-8098-522B0759B343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duotone>
                <a:prstClr val="black"/>
                <a:srgbClr val="DA1838">
                  <a:tint val="45000"/>
                  <a:satMod val="400000"/>
                </a:srgbClr>
              </a:duotone>
              <a:extLst>
                <a:ext uri="{BEBA8EAE-BF5A-486C-A8C5-ECC9F3942E4B}">
                  <a14:imgProps xmlns:a14="http://schemas.microsoft.com/office/drawing/2010/main">
                    <a14:imgLayer r:embed="rId18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219388" y="6009882"/>
              <a:ext cx="510793" cy="299493"/>
            </a:xfrm>
            <a:prstGeom prst="rect">
              <a:avLst/>
            </a:prstGeom>
          </p:spPr>
        </p:pic>
      </p:grpSp>
      <p:grpSp>
        <p:nvGrpSpPr>
          <p:cNvPr id="59" name="Gruppieren 58">
            <a:extLst>
              <a:ext uri="{FF2B5EF4-FFF2-40B4-BE49-F238E27FC236}">
                <a16:creationId xmlns:a16="http://schemas.microsoft.com/office/drawing/2014/main" id="{0A2BBB29-9521-40F0-86EC-E9D738A96595}"/>
              </a:ext>
            </a:extLst>
          </p:cNvPr>
          <p:cNvGrpSpPr/>
          <p:nvPr/>
        </p:nvGrpSpPr>
        <p:grpSpPr>
          <a:xfrm>
            <a:off x="3872960" y="3342463"/>
            <a:ext cx="360000" cy="1502313"/>
            <a:chOff x="7670170" y="3375678"/>
            <a:chExt cx="360000" cy="1502313"/>
          </a:xfrm>
        </p:grpSpPr>
        <p:sp>
          <p:nvSpPr>
            <p:cNvPr id="60" name="Textfeld 59">
              <a:extLst>
                <a:ext uri="{FF2B5EF4-FFF2-40B4-BE49-F238E27FC236}">
                  <a16:creationId xmlns:a16="http://schemas.microsoft.com/office/drawing/2014/main" id="{C2A1337E-EBE7-4C9F-865A-58F711E18264}"/>
                </a:ext>
              </a:extLst>
            </p:cNvPr>
            <p:cNvSpPr txBox="1"/>
            <p:nvPr/>
          </p:nvSpPr>
          <p:spPr>
            <a:xfrm>
              <a:off x="7670170" y="4682177"/>
              <a:ext cx="360000" cy="19581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800" dirty="0">
                  <a:solidFill>
                    <a:srgbClr val="F2B800"/>
                  </a:solidFill>
                </a:rPr>
                <a:t>± 3.0</a:t>
              </a:r>
            </a:p>
          </p:txBody>
        </p:sp>
        <p:sp>
          <p:nvSpPr>
            <p:cNvPr id="62" name="Textfeld 61">
              <a:extLst>
                <a:ext uri="{FF2B5EF4-FFF2-40B4-BE49-F238E27FC236}">
                  <a16:creationId xmlns:a16="http://schemas.microsoft.com/office/drawing/2014/main" id="{AAA15384-88D0-4AF7-90E7-2604FD3BB0A4}"/>
                </a:ext>
              </a:extLst>
            </p:cNvPr>
            <p:cNvSpPr txBox="1"/>
            <p:nvPr/>
          </p:nvSpPr>
          <p:spPr>
            <a:xfrm>
              <a:off x="7670170" y="4134189"/>
              <a:ext cx="360000" cy="19581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800" dirty="0">
                  <a:solidFill>
                    <a:srgbClr val="F2B800"/>
                  </a:solidFill>
                </a:rPr>
                <a:t>± 3.8</a:t>
              </a:r>
            </a:p>
          </p:txBody>
        </p:sp>
        <p:sp>
          <p:nvSpPr>
            <p:cNvPr id="63" name="Textfeld 62">
              <a:extLst>
                <a:ext uri="{FF2B5EF4-FFF2-40B4-BE49-F238E27FC236}">
                  <a16:creationId xmlns:a16="http://schemas.microsoft.com/office/drawing/2014/main" id="{5DEBE56C-919B-4759-B9D0-26372CA35E53}"/>
                </a:ext>
              </a:extLst>
            </p:cNvPr>
            <p:cNvSpPr txBox="1"/>
            <p:nvPr/>
          </p:nvSpPr>
          <p:spPr>
            <a:xfrm>
              <a:off x="7670170" y="3375678"/>
              <a:ext cx="360000" cy="19581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800" dirty="0">
                  <a:solidFill>
                    <a:srgbClr val="F2B800"/>
                  </a:solidFill>
                </a:rPr>
                <a:t>± 4.0</a:t>
              </a:r>
            </a:p>
          </p:txBody>
        </p:sp>
      </p:grp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28C8B6F9-1214-40E2-891C-F313578C3649}"/>
              </a:ext>
            </a:extLst>
          </p:cNvPr>
          <p:cNvGrpSpPr/>
          <p:nvPr/>
        </p:nvGrpSpPr>
        <p:grpSpPr>
          <a:xfrm>
            <a:off x="7680216" y="3299409"/>
            <a:ext cx="360000" cy="1545367"/>
            <a:chOff x="7670170" y="3332624"/>
            <a:chExt cx="360000" cy="1545367"/>
          </a:xfrm>
        </p:grpSpPr>
        <p:sp>
          <p:nvSpPr>
            <p:cNvPr id="67" name="Textfeld 66">
              <a:extLst>
                <a:ext uri="{FF2B5EF4-FFF2-40B4-BE49-F238E27FC236}">
                  <a16:creationId xmlns:a16="http://schemas.microsoft.com/office/drawing/2014/main" id="{7F4591E9-7EDA-4660-AE37-0FDBE28E87B0}"/>
                </a:ext>
              </a:extLst>
            </p:cNvPr>
            <p:cNvSpPr txBox="1"/>
            <p:nvPr/>
          </p:nvSpPr>
          <p:spPr>
            <a:xfrm>
              <a:off x="7670170" y="4682177"/>
              <a:ext cx="360000" cy="19581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800" dirty="0">
                  <a:solidFill>
                    <a:srgbClr val="F2B800"/>
                  </a:solidFill>
                </a:rPr>
                <a:t>± 2.5</a:t>
              </a:r>
            </a:p>
          </p:txBody>
        </p:sp>
        <p:sp>
          <p:nvSpPr>
            <p:cNvPr id="68" name="Textfeld 67">
              <a:extLst>
                <a:ext uri="{FF2B5EF4-FFF2-40B4-BE49-F238E27FC236}">
                  <a16:creationId xmlns:a16="http://schemas.microsoft.com/office/drawing/2014/main" id="{C5E4E440-E8EB-4513-A173-DA2CA40F0D3D}"/>
                </a:ext>
              </a:extLst>
            </p:cNvPr>
            <p:cNvSpPr txBox="1"/>
            <p:nvPr/>
          </p:nvSpPr>
          <p:spPr>
            <a:xfrm>
              <a:off x="7670170" y="4098379"/>
              <a:ext cx="360000" cy="16183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800" dirty="0">
                  <a:solidFill>
                    <a:srgbClr val="F2B800"/>
                  </a:solidFill>
                </a:rPr>
                <a:t>± 3.1</a:t>
              </a:r>
            </a:p>
          </p:txBody>
        </p:sp>
        <p:sp>
          <p:nvSpPr>
            <p:cNvPr id="74" name="Textfeld 73">
              <a:extLst>
                <a:ext uri="{FF2B5EF4-FFF2-40B4-BE49-F238E27FC236}">
                  <a16:creationId xmlns:a16="http://schemas.microsoft.com/office/drawing/2014/main" id="{98BE356D-2B36-4CE5-8C50-9A2E9804D81C}"/>
                </a:ext>
              </a:extLst>
            </p:cNvPr>
            <p:cNvSpPr txBox="1"/>
            <p:nvPr/>
          </p:nvSpPr>
          <p:spPr>
            <a:xfrm>
              <a:off x="7670170" y="3332624"/>
              <a:ext cx="360000" cy="195814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800" dirty="0">
                  <a:solidFill>
                    <a:srgbClr val="F2B800"/>
                  </a:solidFill>
                </a:rPr>
                <a:t>± 3.1</a:t>
              </a:r>
            </a:p>
          </p:txBody>
        </p:sp>
      </p:grpSp>
      <p:grpSp>
        <p:nvGrpSpPr>
          <p:cNvPr id="75" name="Gruppieren 74">
            <a:extLst>
              <a:ext uri="{FF2B5EF4-FFF2-40B4-BE49-F238E27FC236}">
                <a16:creationId xmlns:a16="http://schemas.microsoft.com/office/drawing/2014/main" id="{FE11919A-6DF2-48BD-BDA6-5D2A8A2C40EF}"/>
              </a:ext>
            </a:extLst>
          </p:cNvPr>
          <p:cNvGrpSpPr/>
          <p:nvPr/>
        </p:nvGrpSpPr>
        <p:grpSpPr>
          <a:xfrm>
            <a:off x="11549940" y="3160940"/>
            <a:ext cx="360000" cy="1576862"/>
            <a:chOff x="7670170" y="3147857"/>
            <a:chExt cx="360000" cy="1482060"/>
          </a:xfrm>
        </p:grpSpPr>
        <p:sp>
          <p:nvSpPr>
            <p:cNvPr id="77" name="Textfeld 76">
              <a:extLst>
                <a:ext uri="{FF2B5EF4-FFF2-40B4-BE49-F238E27FC236}">
                  <a16:creationId xmlns:a16="http://schemas.microsoft.com/office/drawing/2014/main" id="{B00C900C-EDE3-4557-A16F-21F282CFAED4}"/>
                </a:ext>
              </a:extLst>
            </p:cNvPr>
            <p:cNvSpPr txBox="1"/>
            <p:nvPr/>
          </p:nvSpPr>
          <p:spPr>
            <a:xfrm>
              <a:off x="7670170" y="4445876"/>
              <a:ext cx="360000" cy="184041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800" dirty="0">
                  <a:solidFill>
                    <a:srgbClr val="F2B800"/>
                  </a:solidFill>
                </a:rPr>
                <a:t>± 2.4</a:t>
              </a:r>
            </a:p>
          </p:txBody>
        </p:sp>
        <p:sp>
          <p:nvSpPr>
            <p:cNvPr id="78" name="Textfeld 77">
              <a:extLst>
                <a:ext uri="{FF2B5EF4-FFF2-40B4-BE49-F238E27FC236}">
                  <a16:creationId xmlns:a16="http://schemas.microsoft.com/office/drawing/2014/main" id="{EE94DFFC-2BC7-4F90-A400-38404C265D62}"/>
                </a:ext>
              </a:extLst>
            </p:cNvPr>
            <p:cNvSpPr txBox="1"/>
            <p:nvPr/>
          </p:nvSpPr>
          <p:spPr>
            <a:xfrm>
              <a:off x="7670170" y="3826773"/>
              <a:ext cx="360000" cy="184041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800" dirty="0">
                  <a:solidFill>
                    <a:srgbClr val="F2B800"/>
                  </a:solidFill>
                </a:rPr>
                <a:t>± 2.9</a:t>
              </a:r>
            </a:p>
          </p:txBody>
        </p:sp>
        <p:sp>
          <p:nvSpPr>
            <p:cNvPr id="79" name="Textfeld 78">
              <a:extLst>
                <a:ext uri="{FF2B5EF4-FFF2-40B4-BE49-F238E27FC236}">
                  <a16:creationId xmlns:a16="http://schemas.microsoft.com/office/drawing/2014/main" id="{E32F1C12-BB4F-4467-A587-87FD41821ED5}"/>
                </a:ext>
              </a:extLst>
            </p:cNvPr>
            <p:cNvSpPr txBox="1"/>
            <p:nvPr/>
          </p:nvSpPr>
          <p:spPr>
            <a:xfrm>
              <a:off x="7670170" y="3147857"/>
              <a:ext cx="360000" cy="184041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800" dirty="0">
                  <a:solidFill>
                    <a:srgbClr val="F2B800"/>
                  </a:solidFill>
                </a:rPr>
                <a:t>± 2.7</a:t>
              </a:r>
            </a:p>
          </p:txBody>
        </p:sp>
      </p:grpSp>
      <p:sp>
        <p:nvSpPr>
          <p:cNvPr id="8" name="Rechteck 7">
            <a:extLst>
              <a:ext uri="{FF2B5EF4-FFF2-40B4-BE49-F238E27FC236}">
                <a16:creationId xmlns:a16="http://schemas.microsoft.com/office/drawing/2014/main" id="{8F695C89-066E-7034-0600-0C1C0C8D0023}"/>
              </a:ext>
            </a:extLst>
          </p:cNvPr>
          <p:cNvSpPr/>
          <p:nvPr/>
        </p:nvSpPr>
        <p:spPr>
          <a:xfrm>
            <a:off x="6525290" y="6326398"/>
            <a:ext cx="5609214" cy="211203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de-CH" sz="900" dirty="0">
                <a:solidFill>
                  <a:srgbClr val="F2B800"/>
                </a:solidFill>
                <a:latin typeface="+mj-lt"/>
              </a:rPr>
              <a:t>Sampling </a:t>
            </a:r>
            <a:r>
              <a:rPr lang="de-CH" sz="900" dirty="0" err="1">
                <a:solidFill>
                  <a:srgbClr val="F2B800"/>
                </a:solidFill>
                <a:latin typeface="+mj-lt"/>
              </a:rPr>
              <a:t>error</a:t>
            </a:r>
            <a:r>
              <a:rPr lang="de-CH" sz="900" dirty="0">
                <a:solidFill>
                  <a:srgbClr val="F2B800"/>
                </a:solidFill>
                <a:latin typeface="+mj-lt"/>
              </a:rPr>
              <a:t> (</a:t>
            </a:r>
            <a:r>
              <a:rPr lang="de-CH" sz="900" dirty="0" err="1">
                <a:solidFill>
                  <a:srgbClr val="F2B800"/>
                </a:solidFill>
                <a:latin typeface="+mj-lt"/>
              </a:rPr>
              <a:t>confidence</a:t>
            </a:r>
            <a:r>
              <a:rPr lang="de-CH" sz="900" dirty="0">
                <a:solidFill>
                  <a:srgbClr val="F2B800"/>
                </a:solidFill>
                <a:latin typeface="+mj-lt"/>
              </a:rPr>
              <a:t> </a:t>
            </a:r>
            <a:r>
              <a:rPr lang="de-CH" sz="900" dirty="0" err="1">
                <a:solidFill>
                  <a:srgbClr val="F2B800"/>
                </a:solidFill>
                <a:latin typeface="+mj-lt"/>
              </a:rPr>
              <a:t>level</a:t>
            </a:r>
            <a:r>
              <a:rPr lang="en-GB" sz="900" dirty="0">
                <a:solidFill>
                  <a:srgbClr val="F2B800"/>
                </a:solidFill>
                <a:latin typeface="+mj-lt"/>
              </a:rPr>
              <a:t> </a:t>
            </a:r>
            <a:r>
              <a:rPr lang="de-CH" sz="900" dirty="0">
                <a:solidFill>
                  <a:srgbClr val="F2B800"/>
                </a:solidFill>
                <a:latin typeface="+mj-lt"/>
              </a:rPr>
              <a:t>= 95%) in </a:t>
            </a:r>
            <a:r>
              <a:rPr lang="de-CH" sz="900" dirty="0" err="1">
                <a:solidFill>
                  <a:srgbClr val="F2B800"/>
                </a:solidFill>
                <a:latin typeface="+mj-lt"/>
              </a:rPr>
              <a:t>percentage</a:t>
            </a:r>
            <a:r>
              <a:rPr lang="de-CH" sz="900" dirty="0">
                <a:solidFill>
                  <a:srgbClr val="F2B800"/>
                </a:solidFill>
                <a:latin typeface="+mj-lt"/>
              </a:rPr>
              <a:t> </a:t>
            </a:r>
            <a:r>
              <a:rPr lang="de-CH" sz="900" dirty="0" err="1">
                <a:solidFill>
                  <a:srgbClr val="F2B800"/>
                </a:solidFill>
                <a:latin typeface="+mj-lt"/>
              </a:rPr>
              <a:t>points</a:t>
            </a:r>
            <a:endParaRPr lang="de-CH" sz="900" u="sng" dirty="0">
              <a:solidFill>
                <a:srgbClr val="F2B8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260320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1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2" dur="2000"/>
                                        <p:tgtEl>
                                          <p:spTgt spid="2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7" dur="2000"/>
                                        <p:tgtEl>
                                          <p:spTgt spid="2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8" grpId="0" animBg="1"/>
      <p:bldP spid="227" grpId="0" animBg="1"/>
      <p:bldP spid="243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9" name="Objekt 8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6" name="Grafik 55"/>
          <p:cNvPicPr>
            <a:picLocks noChangeAspect="1"/>
          </p:cNvPicPr>
          <p:nvPr/>
        </p:nvPicPr>
        <p:blipFill>
          <a:blip r:embed="rId7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1851" y="2574120"/>
            <a:ext cx="597551" cy="597551"/>
          </a:xfrm>
          <a:prstGeom prst="rect">
            <a:avLst/>
          </a:prstGeom>
        </p:spPr>
      </p:pic>
      <p:pic>
        <p:nvPicPr>
          <p:cNvPr id="57" name="Grafik 56"/>
          <p:cNvPicPr>
            <a:picLocks noChangeAspect="1"/>
          </p:cNvPicPr>
          <p:nvPr/>
        </p:nvPicPr>
        <p:blipFill>
          <a:blip r:embed="rId8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4845" y="3154938"/>
            <a:ext cx="715360" cy="715360"/>
          </a:xfrm>
          <a:prstGeom prst="rect">
            <a:avLst/>
          </a:prstGeom>
        </p:spPr>
      </p:pic>
      <p:pic>
        <p:nvPicPr>
          <p:cNvPr id="59" name="Grafik 58"/>
          <p:cNvPicPr>
            <a:picLocks noChangeAspect="1"/>
          </p:cNvPicPr>
          <p:nvPr/>
        </p:nvPicPr>
        <p:blipFill>
          <a:blip r:embed="rId9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6879" y="4688877"/>
            <a:ext cx="827612" cy="827610"/>
          </a:xfrm>
          <a:prstGeom prst="rect">
            <a:avLst/>
          </a:prstGeom>
        </p:spPr>
      </p:pic>
      <p:pic>
        <p:nvPicPr>
          <p:cNvPr id="60" name="Grafik 59"/>
          <p:cNvPicPr>
            <a:picLocks noChangeAspect="1"/>
          </p:cNvPicPr>
          <p:nvPr/>
        </p:nvPicPr>
        <p:blipFill>
          <a:blip r:embed="rId11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68000" contrast="-6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7518" y="4099464"/>
            <a:ext cx="599618" cy="599616"/>
          </a:xfrm>
          <a:prstGeom prst="rect">
            <a:avLst/>
          </a:prstGeom>
        </p:spPr>
      </p:pic>
      <p:sp>
        <p:nvSpPr>
          <p:cNvPr id="61" name="Split 8636356572805261670"/>
          <p:cNvSpPr txBox="1"/>
          <p:nvPr/>
        </p:nvSpPr>
        <p:spPr>
          <a:xfrm>
            <a:off x="0" y="2038409"/>
            <a:ext cx="1396255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buClr>
                <a:srgbClr val="000000"/>
              </a:buClr>
              <a:buSzPct val="100000"/>
            </a:pPr>
            <a:r>
              <a:rPr lang="de-CH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Home</a:t>
            </a:r>
          </a:p>
        </p:txBody>
      </p:sp>
      <p:sp>
        <p:nvSpPr>
          <p:cNvPr id="62" name="Split 9636356572805261670"/>
          <p:cNvSpPr txBox="1"/>
          <p:nvPr/>
        </p:nvSpPr>
        <p:spPr>
          <a:xfrm>
            <a:off x="0" y="2773497"/>
            <a:ext cx="1396255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buClr>
                <a:srgbClr val="000000"/>
              </a:buClr>
              <a:buSzPct val="100000"/>
            </a:pPr>
            <a:r>
              <a:rPr lang="de-CH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Work</a:t>
            </a:r>
          </a:p>
        </p:txBody>
      </p:sp>
      <p:sp>
        <p:nvSpPr>
          <p:cNvPr id="63" name="Split 10636356572805261670"/>
          <p:cNvSpPr txBox="1"/>
          <p:nvPr/>
        </p:nvSpPr>
        <p:spPr>
          <a:xfrm>
            <a:off x="0" y="3508585"/>
            <a:ext cx="1396255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buClr>
                <a:srgbClr val="000000"/>
              </a:buClr>
              <a:buSzPct val="100000"/>
            </a:pPr>
            <a:r>
              <a:rPr lang="de-CH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Car</a:t>
            </a:r>
          </a:p>
        </p:txBody>
      </p:sp>
      <p:sp>
        <p:nvSpPr>
          <p:cNvPr id="64" name="Split 11636356572805261670"/>
          <p:cNvSpPr txBox="1"/>
          <p:nvPr/>
        </p:nvSpPr>
        <p:spPr>
          <a:xfrm>
            <a:off x="0" y="4979903"/>
            <a:ext cx="1396255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buClr>
                <a:srgbClr val="000000"/>
              </a:buClr>
              <a:buSzPct val="100000"/>
            </a:pPr>
            <a:r>
              <a:rPr lang="de-CH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port</a:t>
            </a:r>
          </a:p>
        </p:txBody>
      </p:sp>
      <p:sp>
        <p:nvSpPr>
          <p:cNvPr id="65" name="Split 13636356572805261670"/>
          <p:cNvSpPr txBox="1"/>
          <p:nvPr/>
        </p:nvSpPr>
        <p:spPr>
          <a:xfrm>
            <a:off x="11878" y="4276162"/>
            <a:ext cx="1396255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buClr>
                <a:srgbClr val="000000"/>
              </a:buClr>
              <a:buSzPct val="100000"/>
            </a:pPr>
            <a:r>
              <a:rPr lang="de-CH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On </a:t>
            </a:r>
            <a:r>
              <a:rPr lang="de-CH" sz="16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the</a:t>
            </a:r>
            <a:r>
              <a:rPr lang="de-CH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6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go</a:t>
            </a:r>
            <a:endParaRPr lang="de-CH" sz="1600" b="1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sp>
        <p:nvSpPr>
          <p:cNvPr id="66" name="Split 14636356572805261670"/>
          <p:cNvSpPr txBox="1"/>
          <p:nvPr/>
        </p:nvSpPr>
        <p:spPr>
          <a:xfrm>
            <a:off x="0" y="5713847"/>
            <a:ext cx="1396255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buClr>
                <a:srgbClr val="000000"/>
              </a:buClr>
              <a:buSzPct val="100000"/>
            </a:pPr>
            <a:r>
              <a:rPr lang="de-CH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Other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385267" y="399357"/>
            <a:ext cx="10515600" cy="387798"/>
          </a:xfrm>
        </p:spPr>
        <p:txBody>
          <a:bodyPr/>
          <a:lstStyle/>
          <a:p>
            <a:r>
              <a:rPr lang="de-CH" dirty="0">
                <a:latin typeface="Cambria" panose="02040503050406030204" pitchFamily="18" charset="0"/>
                <a:ea typeface="Cambria" panose="02040503050406030204" pitchFamily="18" charset="0"/>
              </a:rPr>
              <a:t>Radio </a:t>
            </a:r>
            <a:r>
              <a:rPr lang="de-CH" dirty="0" err="1">
                <a:latin typeface="Cambria" panose="02040503050406030204" pitchFamily="18" charset="0"/>
                <a:ea typeface="Cambria" panose="02040503050406030204" pitchFamily="18" charset="0"/>
              </a:rPr>
              <a:t>use</a:t>
            </a:r>
            <a:r>
              <a:rPr lang="de-CH" dirty="0"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de-CH" dirty="0" err="1">
                <a:latin typeface="Cambria" panose="02040503050406030204" pitchFamily="18" charset="0"/>
                <a:ea typeface="Cambria" panose="02040503050406030204" pitchFamily="18" charset="0"/>
              </a:rPr>
              <a:t>by</a:t>
            </a:r>
            <a:r>
              <a:rPr lang="de-CH" dirty="0"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de-CH" dirty="0" err="1">
                <a:latin typeface="Cambria" panose="02040503050406030204" pitchFamily="18" charset="0"/>
                <a:ea typeface="Cambria" panose="02040503050406030204" pitchFamily="18" charset="0"/>
              </a:rPr>
              <a:t>location</a:t>
            </a:r>
            <a:endParaRPr lang="de-CH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E18C1E-C518-44FC-8499-CA04C5B7C512}" type="slidenum">
              <a:rPr lang="de-CH" smtClean="0"/>
              <a:t>6</a:t>
            </a:fld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85266" y="785640"/>
            <a:ext cx="10435487" cy="470898"/>
          </a:xfrm>
        </p:spPr>
        <p:txBody>
          <a:bodyPr/>
          <a:lstStyle/>
          <a:p>
            <a:r>
              <a:rPr lang="de-CH" sz="1700" b="0" dirty="0"/>
              <a:t>Radio </a:t>
            </a:r>
            <a:r>
              <a:rPr lang="de-CH" sz="1700" b="0" dirty="0" err="1"/>
              <a:t>use</a:t>
            </a:r>
            <a:r>
              <a:rPr lang="de-CH" sz="1700" b="0" dirty="0"/>
              <a:t> </a:t>
            </a:r>
            <a:r>
              <a:rPr lang="de-CH" sz="1700" b="0" dirty="0" err="1"/>
              <a:t>is</a:t>
            </a:r>
            <a:r>
              <a:rPr lang="de-CH" sz="1700" b="0" dirty="0"/>
              <a:t> </a:t>
            </a:r>
            <a:r>
              <a:rPr lang="de-CH" sz="1700" b="0" dirty="0" err="1"/>
              <a:t>greatest</a:t>
            </a:r>
            <a:r>
              <a:rPr lang="de-CH" sz="1700" b="0" dirty="0"/>
              <a:t> at </a:t>
            </a:r>
            <a:r>
              <a:rPr lang="de-CH" sz="1700" b="0" dirty="0" err="1"/>
              <a:t>home</a:t>
            </a:r>
            <a:r>
              <a:rPr lang="de-CH" sz="1700" b="0" dirty="0"/>
              <a:t>, </a:t>
            </a:r>
            <a:r>
              <a:rPr lang="de-CH" sz="1700" b="0" dirty="0" err="1"/>
              <a:t>accounting</a:t>
            </a:r>
            <a:r>
              <a:rPr lang="de-CH" sz="1700" b="0" dirty="0"/>
              <a:t> </a:t>
            </a:r>
            <a:r>
              <a:rPr lang="de-CH" sz="1700" b="0" dirty="0" err="1"/>
              <a:t>for</a:t>
            </a:r>
            <a:r>
              <a:rPr lang="de-CH" sz="1700" b="0" dirty="0"/>
              <a:t> 63 </a:t>
            </a:r>
            <a:r>
              <a:rPr lang="de-CH" sz="1700" b="0" dirty="0" err="1"/>
              <a:t>of</a:t>
            </a:r>
            <a:r>
              <a:rPr lang="de-CH" sz="1700" b="0" dirty="0"/>
              <a:t> </a:t>
            </a:r>
            <a:r>
              <a:rPr lang="de-CH" sz="1700" b="0" dirty="0" err="1"/>
              <a:t>every</a:t>
            </a:r>
            <a:r>
              <a:rPr lang="de-CH" sz="1700" b="0" dirty="0"/>
              <a:t> 100 </a:t>
            </a:r>
            <a:r>
              <a:rPr lang="de-CH" sz="1700" b="0" dirty="0" err="1"/>
              <a:t>minutes</a:t>
            </a:r>
            <a:r>
              <a:rPr lang="de-CH" sz="1700" b="0" dirty="0"/>
              <a:t> </a:t>
            </a:r>
            <a:r>
              <a:rPr lang="de-CH" sz="1700" b="0" dirty="0" err="1"/>
              <a:t>of</a:t>
            </a:r>
            <a:r>
              <a:rPr lang="de-CH" sz="1700" b="0" dirty="0"/>
              <a:t> </a:t>
            </a:r>
            <a:r>
              <a:rPr lang="de-CH" sz="1700" b="0" dirty="0" err="1"/>
              <a:t>listening</a:t>
            </a:r>
            <a:r>
              <a:rPr lang="de-CH" sz="1700" b="0" dirty="0"/>
              <a:t> time. Use at </a:t>
            </a:r>
            <a:r>
              <a:rPr lang="de-CH" sz="1700" b="0" dirty="0" err="1"/>
              <a:t>work</a:t>
            </a:r>
            <a:r>
              <a:rPr lang="de-CH" sz="1700" b="0" dirty="0"/>
              <a:t> </a:t>
            </a:r>
            <a:r>
              <a:rPr lang="de-CH" sz="1700" b="0" dirty="0" err="1"/>
              <a:t>accounts</a:t>
            </a:r>
            <a:r>
              <a:rPr lang="de-CH" sz="1700" b="0" dirty="0"/>
              <a:t> </a:t>
            </a:r>
            <a:r>
              <a:rPr lang="de-CH" sz="1700" b="0" dirty="0" err="1"/>
              <a:t>for</a:t>
            </a:r>
            <a:r>
              <a:rPr lang="de-CH" sz="1700" b="0" dirty="0"/>
              <a:t> 18 </a:t>
            </a:r>
            <a:r>
              <a:rPr lang="de-CH" sz="1700" b="0" dirty="0" err="1"/>
              <a:t>of</a:t>
            </a:r>
            <a:r>
              <a:rPr lang="de-CH" sz="1700" b="0" dirty="0"/>
              <a:t> </a:t>
            </a:r>
            <a:r>
              <a:rPr lang="de-CH" sz="1700" b="0" dirty="0" err="1"/>
              <a:t>every</a:t>
            </a:r>
            <a:r>
              <a:rPr lang="de-CH" sz="1700" b="0" dirty="0"/>
              <a:t> 100 </a:t>
            </a:r>
            <a:r>
              <a:rPr lang="de-CH" sz="1700" b="0" dirty="0" err="1"/>
              <a:t>minutes</a:t>
            </a:r>
            <a:r>
              <a:rPr lang="de-CH" sz="1700" b="0" dirty="0"/>
              <a:t>, </a:t>
            </a:r>
            <a:r>
              <a:rPr lang="de-CH" sz="1700" b="0" dirty="0" err="1"/>
              <a:t>while</a:t>
            </a:r>
            <a:r>
              <a:rPr lang="de-CH" sz="1700" b="0" dirty="0"/>
              <a:t> in-car </a:t>
            </a:r>
            <a:r>
              <a:rPr lang="de-CH" sz="1700" b="0" dirty="0" err="1"/>
              <a:t>listening</a:t>
            </a:r>
            <a:r>
              <a:rPr lang="de-CH" sz="1700" b="0" dirty="0"/>
              <a:t> </a:t>
            </a:r>
            <a:r>
              <a:rPr lang="de-CH" sz="1700" b="0" dirty="0" err="1"/>
              <a:t>makes</a:t>
            </a:r>
            <a:r>
              <a:rPr lang="de-CH" sz="1700" b="0" dirty="0"/>
              <a:t> </a:t>
            </a:r>
            <a:r>
              <a:rPr lang="de-CH" sz="1700" b="0" dirty="0" err="1"/>
              <a:t>up</a:t>
            </a:r>
            <a:r>
              <a:rPr lang="de-CH" sz="1700" b="0" dirty="0"/>
              <a:t> 13 </a:t>
            </a:r>
            <a:r>
              <a:rPr lang="de-CH" sz="1700" b="0" dirty="0" err="1"/>
              <a:t>minutes</a:t>
            </a:r>
            <a:r>
              <a:rPr lang="de-CH" sz="1700" b="0" dirty="0"/>
              <a:t>. These </a:t>
            </a:r>
            <a:r>
              <a:rPr lang="de-CH" sz="1700" b="0" dirty="0" err="1"/>
              <a:t>figures</a:t>
            </a:r>
            <a:r>
              <a:rPr lang="de-CH" sz="1700" b="0" dirty="0"/>
              <a:t> </a:t>
            </a:r>
            <a:r>
              <a:rPr lang="de-CH" sz="1700" b="0" dirty="0" err="1"/>
              <a:t>have</a:t>
            </a:r>
            <a:r>
              <a:rPr lang="de-CH" sz="1700" b="0" dirty="0"/>
              <a:t> </a:t>
            </a:r>
            <a:r>
              <a:rPr lang="de-CH" sz="1700" b="0" dirty="0" err="1"/>
              <a:t>been</a:t>
            </a:r>
            <a:r>
              <a:rPr lang="de-CH" sz="1700" b="0" dirty="0"/>
              <a:t> </a:t>
            </a:r>
            <a:r>
              <a:rPr lang="de-CH" sz="1700" b="0" dirty="0" err="1"/>
              <a:t>stable</a:t>
            </a:r>
            <a:r>
              <a:rPr lang="de-CH" sz="1700" b="0" dirty="0"/>
              <a:t> </a:t>
            </a:r>
            <a:r>
              <a:rPr lang="de-CH" sz="1700" b="0" dirty="0" err="1"/>
              <a:t>for</a:t>
            </a:r>
            <a:r>
              <a:rPr lang="de-CH" sz="1700" b="0" dirty="0"/>
              <a:t> </a:t>
            </a:r>
            <a:r>
              <a:rPr lang="de-CH" sz="1700" b="0" dirty="0" err="1"/>
              <a:t>several</a:t>
            </a:r>
            <a:r>
              <a:rPr lang="de-CH" sz="1700" b="0" dirty="0"/>
              <a:t> </a:t>
            </a:r>
            <a:r>
              <a:rPr lang="de-CH" sz="1700" b="0" dirty="0" err="1"/>
              <a:t>years</a:t>
            </a:r>
            <a:r>
              <a:rPr lang="de-CH" sz="1700" b="0" dirty="0"/>
              <a:t> </a:t>
            </a:r>
            <a:r>
              <a:rPr lang="de-CH" sz="1700" b="0" dirty="0" err="1"/>
              <a:t>now</a:t>
            </a:r>
            <a:r>
              <a:rPr lang="de-CH" sz="1700" b="0" dirty="0"/>
              <a:t>.</a:t>
            </a:r>
          </a:p>
        </p:txBody>
      </p:sp>
      <p:sp>
        <p:nvSpPr>
          <p:cNvPr id="51" name="Inhaltsplatzhalter 5"/>
          <p:cNvSpPr txBox="1">
            <a:spLocks/>
          </p:cNvSpPr>
          <p:nvPr/>
        </p:nvSpPr>
        <p:spPr>
          <a:xfrm>
            <a:off x="371475" y="1364643"/>
            <a:ext cx="11327356" cy="1938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adio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usag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(in per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cent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)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y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od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of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reception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and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usag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location</a:t>
            </a:r>
            <a:endParaRPr lang="de-CH" sz="1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dirty="0"/>
              <a:t>DIGIMIG - The </a:t>
            </a:r>
            <a:r>
              <a:rPr lang="de-CH" dirty="0" err="1"/>
              <a:t>research</a:t>
            </a:r>
            <a:r>
              <a:rPr lang="de-CH" dirty="0"/>
              <a:t> </a:t>
            </a:r>
            <a:r>
              <a:rPr lang="de-CH" dirty="0" err="1"/>
              <a:t>project</a:t>
            </a:r>
            <a:r>
              <a:rPr lang="de-CH" dirty="0"/>
              <a:t> on </a:t>
            </a:r>
            <a:r>
              <a:rPr lang="de-CH" dirty="0" err="1"/>
              <a:t>the</a:t>
            </a:r>
            <a:r>
              <a:rPr lang="de-CH" dirty="0"/>
              <a:t> digital </a:t>
            </a:r>
            <a:r>
              <a:rPr lang="de-CH" dirty="0" err="1"/>
              <a:t>migration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radio</a:t>
            </a:r>
            <a:r>
              <a:rPr lang="de-CH" dirty="0"/>
              <a:t> </a:t>
            </a:r>
            <a:r>
              <a:rPr lang="de-CH" dirty="0" err="1"/>
              <a:t>usage</a:t>
            </a:r>
            <a:r>
              <a:rPr lang="de-CH" dirty="0"/>
              <a:t> in </a:t>
            </a:r>
            <a:r>
              <a:rPr lang="de-CH" dirty="0" err="1"/>
              <a:t>Switzerland</a:t>
            </a:r>
            <a:endParaRPr lang="de-CH" dirty="0"/>
          </a:p>
        </p:txBody>
      </p:sp>
      <p:sp>
        <p:nvSpPr>
          <p:cNvPr id="30" name="Textfeld 29"/>
          <p:cNvSpPr txBox="1"/>
          <p:nvPr/>
        </p:nvSpPr>
        <p:spPr>
          <a:xfrm>
            <a:off x="8030375" y="1965541"/>
            <a:ext cx="930757" cy="40011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r"/>
            <a:r>
              <a:rPr lang="de-CH" sz="2000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65%</a:t>
            </a:r>
          </a:p>
        </p:txBody>
      </p:sp>
      <p:sp>
        <p:nvSpPr>
          <p:cNvPr id="79" name="Textfeld 78"/>
          <p:cNvSpPr txBox="1"/>
          <p:nvPr/>
        </p:nvSpPr>
        <p:spPr>
          <a:xfrm>
            <a:off x="3359696" y="2696552"/>
            <a:ext cx="834937" cy="40011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r"/>
            <a:r>
              <a:rPr lang="de-CH" sz="2000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19%</a:t>
            </a:r>
          </a:p>
        </p:txBody>
      </p:sp>
      <p:sp>
        <p:nvSpPr>
          <p:cNvPr id="81" name="Textfeld 80"/>
          <p:cNvSpPr txBox="1"/>
          <p:nvPr/>
        </p:nvSpPr>
        <p:spPr>
          <a:xfrm>
            <a:off x="2648768" y="3444017"/>
            <a:ext cx="81529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CH" sz="2000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12%</a:t>
            </a:r>
          </a:p>
        </p:txBody>
      </p:sp>
      <p:cxnSp>
        <p:nvCxnSpPr>
          <p:cNvPr id="55" name="Gerade Verbindung 54"/>
          <p:cNvCxnSpPr/>
          <p:nvPr/>
        </p:nvCxnSpPr>
        <p:spPr>
          <a:xfrm>
            <a:off x="371475" y="1270165"/>
            <a:ext cx="11353800" cy="0"/>
          </a:xfrm>
          <a:prstGeom prst="line">
            <a:avLst/>
          </a:prstGeom>
          <a:ln w="19050">
            <a:gradFill flip="none" rotWithShape="1">
              <a:gsLst>
                <a:gs pos="43000">
                  <a:srgbClr val="DA1838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Freeform 46"/>
          <p:cNvSpPr>
            <a:spLocks noEditPoints="1"/>
          </p:cNvSpPr>
          <p:nvPr/>
        </p:nvSpPr>
        <p:spPr bwMode="auto">
          <a:xfrm>
            <a:off x="1904172" y="5642198"/>
            <a:ext cx="320554" cy="377514"/>
          </a:xfrm>
          <a:custGeom>
            <a:avLst/>
            <a:gdLst>
              <a:gd name="T0" fmla="*/ 248 w 550"/>
              <a:gd name="T1" fmla="*/ 6 h 648"/>
              <a:gd name="T2" fmla="*/ 449 w 550"/>
              <a:gd name="T3" fmla="*/ 81 h 648"/>
              <a:gd name="T4" fmla="*/ 491 w 550"/>
              <a:gd name="T5" fmla="*/ 381 h 648"/>
              <a:gd name="T6" fmla="*/ 434 w 550"/>
              <a:gd name="T7" fmla="*/ 447 h 648"/>
              <a:gd name="T8" fmla="*/ 293 w 550"/>
              <a:gd name="T9" fmla="*/ 615 h 648"/>
              <a:gd name="T10" fmla="*/ 266 w 550"/>
              <a:gd name="T11" fmla="*/ 648 h 648"/>
              <a:gd name="T12" fmla="*/ 209 w 550"/>
              <a:gd name="T13" fmla="*/ 585 h 648"/>
              <a:gd name="T14" fmla="*/ 155 w 550"/>
              <a:gd name="T15" fmla="*/ 519 h 648"/>
              <a:gd name="T16" fmla="*/ 44 w 550"/>
              <a:gd name="T17" fmla="*/ 390 h 648"/>
              <a:gd name="T18" fmla="*/ 11 w 550"/>
              <a:gd name="T19" fmla="*/ 216 h 648"/>
              <a:gd name="T20" fmla="*/ 248 w 550"/>
              <a:gd name="T21" fmla="*/ 6 h 648"/>
              <a:gd name="T22" fmla="*/ 155 w 550"/>
              <a:gd name="T23" fmla="*/ 282 h 648"/>
              <a:gd name="T24" fmla="*/ 221 w 550"/>
              <a:gd name="T25" fmla="*/ 348 h 648"/>
              <a:gd name="T26" fmla="*/ 374 w 550"/>
              <a:gd name="T27" fmla="*/ 282 h 648"/>
              <a:gd name="T28" fmla="*/ 248 w 550"/>
              <a:gd name="T29" fmla="*/ 129 h 648"/>
              <a:gd name="T30" fmla="*/ 155 w 550"/>
              <a:gd name="T31" fmla="*/ 282 h 6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50" h="648">
                <a:moveTo>
                  <a:pt x="248" y="6"/>
                </a:moveTo>
                <a:cubicBezTo>
                  <a:pt x="329" y="0"/>
                  <a:pt x="402" y="33"/>
                  <a:pt x="449" y="81"/>
                </a:cubicBezTo>
                <a:cubicBezTo>
                  <a:pt x="513" y="147"/>
                  <a:pt x="550" y="283"/>
                  <a:pt x="491" y="381"/>
                </a:cubicBezTo>
                <a:cubicBezTo>
                  <a:pt x="477" y="405"/>
                  <a:pt x="455" y="423"/>
                  <a:pt x="434" y="447"/>
                </a:cubicBezTo>
                <a:cubicBezTo>
                  <a:pt x="388" y="501"/>
                  <a:pt x="345" y="554"/>
                  <a:pt x="293" y="615"/>
                </a:cubicBezTo>
                <a:cubicBezTo>
                  <a:pt x="283" y="627"/>
                  <a:pt x="268" y="648"/>
                  <a:pt x="266" y="648"/>
                </a:cubicBezTo>
                <a:cubicBezTo>
                  <a:pt x="261" y="648"/>
                  <a:pt x="228" y="608"/>
                  <a:pt x="209" y="585"/>
                </a:cubicBezTo>
                <a:cubicBezTo>
                  <a:pt x="187" y="560"/>
                  <a:pt x="171" y="537"/>
                  <a:pt x="155" y="519"/>
                </a:cubicBezTo>
                <a:cubicBezTo>
                  <a:pt x="111" y="468"/>
                  <a:pt x="68" y="426"/>
                  <a:pt x="44" y="390"/>
                </a:cubicBezTo>
                <a:cubicBezTo>
                  <a:pt x="19" y="352"/>
                  <a:pt x="0" y="279"/>
                  <a:pt x="11" y="216"/>
                </a:cubicBezTo>
                <a:cubicBezTo>
                  <a:pt x="29" y="111"/>
                  <a:pt x="122" y="15"/>
                  <a:pt x="248" y="6"/>
                </a:cubicBezTo>
                <a:close/>
                <a:moveTo>
                  <a:pt x="155" y="282"/>
                </a:moveTo>
                <a:cubicBezTo>
                  <a:pt x="166" y="311"/>
                  <a:pt x="194" y="338"/>
                  <a:pt x="221" y="348"/>
                </a:cubicBezTo>
                <a:cubicBezTo>
                  <a:pt x="295" y="375"/>
                  <a:pt x="357" y="328"/>
                  <a:pt x="374" y="282"/>
                </a:cubicBezTo>
                <a:cubicBezTo>
                  <a:pt x="405" y="198"/>
                  <a:pt x="334" y="117"/>
                  <a:pt x="248" y="129"/>
                </a:cubicBezTo>
                <a:cubicBezTo>
                  <a:pt x="176" y="139"/>
                  <a:pt x="128" y="209"/>
                  <a:pt x="155" y="282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CH"/>
          </a:p>
        </p:txBody>
      </p:sp>
      <p:sp>
        <p:nvSpPr>
          <p:cNvPr id="71" name="Rechteck 70"/>
          <p:cNvSpPr/>
          <p:nvPr/>
        </p:nvSpPr>
        <p:spPr>
          <a:xfrm>
            <a:off x="10653469" y="6808"/>
            <a:ext cx="121969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CH" sz="1400" b="1" dirty="0">
                <a:solidFill>
                  <a:srgbClr val="DA1838"/>
                </a:solidFill>
              </a:rPr>
              <a:t>PLACE OF USE</a:t>
            </a:r>
          </a:p>
        </p:txBody>
      </p:sp>
      <p:pic>
        <p:nvPicPr>
          <p:cNvPr id="76" name="Grafik 75">
            <a:extLst>
              <a:ext uri="{FF2B5EF4-FFF2-40B4-BE49-F238E27FC236}">
                <a16:creationId xmlns:a16="http://schemas.microsoft.com/office/drawing/2014/main" id="{77F3ED21-EDE4-49DC-A27B-AAD9AD6D525E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46000" contrast="-3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3547" y="1843507"/>
            <a:ext cx="567332" cy="567332"/>
          </a:xfrm>
          <a:prstGeom prst="rect">
            <a:avLst/>
          </a:prstGeom>
        </p:spPr>
      </p:pic>
      <p:sp>
        <p:nvSpPr>
          <p:cNvPr id="96" name="Ellipse 95">
            <a:extLst>
              <a:ext uri="{FF2B5EF4-FFF2-40B4-BE49-F238E27FC236}">
                <a16:creationId xmlns:a16="http://schemas.microsoft.com/office/drawing/2014/main" id="{83769CD4-793C-40BD-B1FF-B1ECD48B0D03}"/>
              </a:ext>
            </a:extLst>
          </p:cNvPr>
          <p:cNvSpPr/>
          <p:nvPr/>
        </p:nvSpPr>
        <p:spPr>
          <a:xfrm>
            <a:off x="10890812" y="282575"/>
            <a:ext cx="720000" cy="720000"/>
          </a:xfrm>
          <a:prstGeom prst="ellipse">
            <a:avLst/>
          </a:prstGeom>
          <a:gradFill>
            <a:gsLst>
              <a:gs pos="100000">
                <a:srgbClr val="F5A1AF"/>
              </a:gs>
              <a:gs pos="35000">
                <a:srgbClr val="DA1838"/>
              </a:gs>
              <a:gs pos="1000">
                <a:srgbClr val="A2122A"/>
              </a:gs>
              <a:gs pos="65000">
                <a:srgbClr val="EC526C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pic>
        <p:nvPicPr>
          <p:cNvPr id="101" name="Grafik 100">
            <a:extLst>
              <a:ext uri="{FF2B5EF4-FFF2-40B4-BE49-F238E27FC236}">
                <a16:creationId xmlns:a16="http://schemas.microsoft.com/office/drawing/2014/main" id="{3FB85915-DD5B-4667-973F-735DFE0546DA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0926" y="355983"/>
            <a:ext cx="519668" cy="519668"/>
          </a:xfrm>
          <a:prstGeom prst="rect">
            <a:avLst/>
          </a:prstGeom>
        </p:spPr>
      </p:pic>
      <p:sp>
        <p:nvSpPr>
          <p:cNvPr id="103" name="Textfeld 102">
            <a:extLst>
              <a:ext uri="{FF2B5EF4-FFF2-40B4-BE49-F238E27FC236}">
                <a16:creationId xmlns:a16="http://schemas.microsoft.com/office/drawing/2014/main" id="{BCD48C51-1872-4956-B9D0-88F5FBA8B605}"/>
              </a:ext>
            </a:extLst>
          </p:cNvPr>
          <p:cNvSpPr txBox="1"/>
          <p:nvPr/>
        </p:nvSpPr>
        <p:spPr>
          <a:xfrm>
            <a:off x="371475" y="6367067"/>
            <a:ext cx="795023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ource: GfK Switzerland, </a:t>
            </a:r>
            <a:r>
              <a:rPr lang="de-CH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DigiMig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urvey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, n(2023/2)=2’725)</a:t>
            </a:r>
          </a:p>
        </p:txBody>
      </p:sp>
      <p:grpSp>
        <p:nvGrpSpPr>
          <p:cNvPr id="67" name="Gruppieren 66">
            <a:extLst>
              <a:ext uri="{FF2B5EF4-FFF2-40B4-BE49-F238E27FC236}">
                <a16:creationId xmlns:a16="http://schemas.microsoft.com/office/drawing/2014/main" id="{5E1BA1CE-BF53-48A5-A793-0BFD9069C849}"/>
              </a:ext>
            </a:extLst>
          </p:cNvPr>
          <p:cNvGrpSpPr/>
          <p:nvPr/>
        </p:nvGrpSpPr>
        <p:grpSpPr>
          <a:xfrm>
            <a:off x="9349704" y="2284630"/>
            <a:ext cx="2188131" cy="3429217"/>
            <a:chOff x="9537143" y="2640768"/>
            <a:chExt cx="2188131" cy="2872635"/>
          </a:xfrm>
        </p:grpSpPr>
        <p:sp>
          <p:nvSpPr>
            <p:cNvPr id="69" name="Rechteck 68">
              <a:extLst>
                <a:ext uri="{FF2B5EF4-FFF2-40B4-BE49-F238E27FC236}">
                  <a16:creationId xmlns:a16="http://schemas.microsoft.com/office/drawing/2014/main" id="{C68DC136-9926-4288-9762-0C1396A20E7D}"/>
                </a:ext>
              </a:extLst>
            </p:cNvPr>
            <p:cNvSpPr>
              <a:spLocks/>
            </p:cNvSpPr>
            <p:nvPr/>
          </p:nvSpPr>
          <p:spPr>
            <a:xfrm>
              <a:off x="9552383" y="2640768"/>
              <a:ext cx="2172891" cy="2872634"/>
            </a:xfrm>
            <a:prstGeom prst="rect">
              <a:avLst/>
            </a:prstGeom>
            <a:gradFill flip="none" rotWithShape="1">
              <a:gsLst>
                <a:gs pos="0">
                  <a:schemeClr val="bg2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dirty="0">
                  <a:solidFill>
                    <a:srgbClr val="DA1838"/>
                  </a:solidFill>
                  <a:latin typeface="+mj-lt"/>
                </a:rPr>
                <a:t>The figures </a:t>
              </a:r>
              <a:br>
                <a:rPr lang="en-GB" dirty="0">
                  <a:solidFill>
                    <a:srgbClr val="DA1838"/>
                  </a:solidFill>
                  <a:latin typeface="+mj-lt"/>
                </a:rPr>
              </a:br>
              <a:r>
                <a:rPr lang="en-GB" dirty="0">
                  <a:solidFill>
                    <a:srgbClr val="DA1838"/>
                  </a:solidFill>
                  <a:latin typeface="+mj-lt"/>
                </a:rPr>
                <a:t>represent total </a:t>
              </a:r>
              <a:br>
                <a:rPr lang="en-GB" dirty="0">
                  <a:solidFill>
                    <a:srgbClr val="DA1838"/>
                  </a:solidFill>
                  <a:latin typeface="+mj-lt"/>
                </a:rPr>
              </a:br>
              <a:r>
                <a:rPr lang="en-GB" dirty="0">
                  <a:solidFill>
                    <a:srgbClr val="DA1838"/>
                  </a:solidFill>
                  <a:latin typeface="+mj-lt"/>
                </a:rPr>
                <a:t>radio usage on </a:t>
              </a:r>
              <a:r>
                <a:rPr lang="en-GB" b="1" dirty="0">
                  <a:solidFill>
                    <a:srgbClr val="DA1838"/>
                  </a:solidFill>
                  <a:latin typeface="+mj-lt"/>
                </a:rPr>
                <a:t>stationary and </a:t>
              </a:r>
              <a:br>
                <a:rPr lang="en-GB" b="1" dirty="0">
                  <a:solidFill>
                    <a:srgbClr val="DA1838"/>
                  </a:solidFill>
                  <a:latin typeface="+mj-lt"/>
                </a:rPr>
              </a:br>
              <a:r>
                <a:rPr lang="en-GB" b="1" dirty="0">
                  <a:solidFill>
                    <a:srgbClr val="DA1838"/>
                  </a:solidFill>
                  <a:latin typeface="+mj-lt"/>
                </a:rPr>
                <a:t>mobile </a:t>
              </a:r>
              <a:r>
                <a:rPr lang="en-GB" dirty="0">
                  <a:solidFill>
                    <a:srgbClr val="DA1838"/>
                  </a:solidFill>
                  <a:latin typeface="+mj-lt"/>
                </a:rPr>
                <a:t>devices by usage location</a:t>
              </a:r>
            </a:p>
          </p:txBody>
        </p:sp>
        <p:sp>
          <p:nvSpPr>
            <p:cNvPr id="82" name="RbLeanShape Arrow Option 2 16">
              <a:extLst>
                <a:ext uri="{FF2B5EF4-FFF2-40B4-BE49-F238E27FC236}">
                  <a16:creationId xmlns:a16="http://schemas.microsoft.com/office/drawing/2014/main" id="{44B3C5B2-8F82-4BBB-83A7-CD880A7405D9}"/>
                </a:ext>
              </a:extLst>
            </p:cNvPr>
            <p:cNvSpPr/>
            <p:nvPr/>
          </p:nvSpPr>
          <p:spPr>
            <a:xfrm>
              <a:off x="9537143" y="2640768"/>
              <a:ext cx="239317" cy="2872635"/>
            </a:xfrm>
            <a:custGeom>
              <a:avLst/>
              <a:gdLst>
                <a:gd name="connsiteX0" fmla="*/ 0 w 457200"/>
                <a:gd name="connsiteY0" fmla="*/ 0 h 508000"/>
                <a:gd name="connsiteX1" fmla="*/ 330200 w 457200"/>
                <a:gd name="connsiteY1" fmla="*/ 0 h 508000"/>
                <a:gd name="connsiteX2" fmla="*/ 457200 w 457200"/>
                <a:gd name="connsiteY2" fmla="*/ 254000 h 508000"/>
                <a:gd name="connsiteX3" fmla="*/ 330200 w 457200"/>
                <a:gd name="connsiteY3" fmla="*/ 508000 h 508000"/>
                <a:gd name="connsiteX0" fmla="*/ 0 w 127000"/>
                <a:gd name="connsiteY0" fmla="*/ 0 h 508000"/>
                <a:gd name="connsiteX1" fmla="*/ 127000 w 127000"/>
                <a:gd name="connsiteY1" fmla="*/ 254000 h 508000"/>
                <a:gd name="connsiteX2" fmla="*/ 0 w 127000"/>
                <a:gd name="connsiteY2" fmla="*/ 508000 h 50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00" h="508000">
                  <a:moveTo>
                    <a:pt x="0" y="0"/>
                  </a:moveTo>
                  <a:lnTo>
                    <a:pt x="127000" y="254000"/>
                  </a:lnTo>
                  <a:lnTo>
                    <a:pt x="0" y="508000"/>
                  </a:lnTo>
                </a:path>
              </a:pathLst>
            </a:custGeom>
            <a:solidFill>
              <a:schemeClr val="bg1"/>
            </a:solidFill>
            <a:ln w="19050">
              <a:solidFill>
                <a:srgbClr val="DA183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0" tIns="0" rIns="0" bIns="0" rtlCol="0" anchor="ctr"/>
            <a:lstStyle/>
            <a:p>
              <a:pPr fontAlgn="ctr"/>
              <a:endParaRPr lang="de-CH" sz="1300" b="1"/>
            </a:p>
          </p:txBody>
        </p:sp>
      </p:grp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F34811C7-82E9-4BF1-9455-F38E7B2519EB}"/>
              </a:ext>
            </a:extLst>
          </p:cNvPr>
          <p:cNvGrpSpPr/>
          <p:nvPr/>
        </p:nvGrpSpPr>
        <p:grpSpPr>
          <a:xfrm>
            <a:off x="2803399" y="2398150"/>
            <a:ext cx="5807196" cy="1703923"/>
            <a:chOff x="5271860" y="2398150"/>
            <a:chExt cx="2861739" cy="1703923"/>
          </a:xfrm>
        </p:grpSpPr>
        <p:sp>
          <p:nvSpPr>
            <p:cNvPr id="34" name="Textfeld 33">
              <a:extLst>
                <a:ext uri="{FF2B5EF4-FFF2-40B4-BE49-F238E27FC236}">
                  <a16:creationId xmlns:a16="http://schemas.microsoft.com/office/drawing/2014/main" id="{B9BE5C27-053E-4FA2-A331-58268F272854}"/>
                </a:ext>
              </a:extLst>
            </p:cNvPr>
            <p:cNvSpPr txBox="1"/>
            <p:nvPr/>
          </p:nvSpPr>
          <p:spPr>
            <a:xfrm>
              <a:off x="5271860" y="3875482"/>
              <a:ext cx="360000" cy="226591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1000" dirty="0">
                  <a:solidFill>
                    <a:srgbClr val="F2B800"/>
                  </a:solidFill>
                </a:rPr>
                <a:t>± 1.3</a:t>
              </a:r>
            </a:p>
          </p:txBody>
        </p:sp>
        <p:sp>
          <p:nvSpPr>
            <p:cNvPr id="35" name="Textfeld 34">
              <a:extLst>
                <a:ext uri="{FF2B5EF4-FFF2-40B4-BE49-F238E27FC236}">
                  <a16:creationId xmlns:a16="http://schemas.microsoft.com/office/drawing/2014/main" id="{03AFFA8F-4522-40EA-A892-FF3EBDEA192E}"/>
                </a:ext>
              </a:extLst>
            </p:cNvPr>
            <p:cNvSpPr txBox="1"/>
            <p:nvPr/>
          </p:nvSpPr>
          <p:spPr>
            <a:xfrm>
              <a:off x="5571723" y="3142418"/>
              <a:ext cx="360000" cy="226591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1000" dirty="0">
                  <a:solidFill>
                    <a:srgbClr val="F2B800"/>
                  </a:solidFill>
                </a:rPr>
                <a:t>± 1.4</a:t>
              </a:r>
            </a:p>
          </p:txBody>
        </p:sp>
        <p:sp>
          <p:nvSpPr>
            <p:cNvPr id="36" name="Textfeld 35">
              <a:extLst>
                <a:ext uri="{FF2B5EF4-FFF2-40B4-BE49-F238E27FC236}">
                  <a16:creationId xmlns:a16="http://schemas.microsoft.com/office/drawing/2014/main" id="{10A9A113-5054-401D-91CC-E27A872298E9}"/>
                </a:ext>
              </a:extLst>
            </p:cNvPr>
            <p:cNvSpPr txBox="1"/>
            <p:nvPr/>
          </p:nvSpPr>
          <p:spPr>
            <a:xfrm>
              <a:off x="7773599" y="2398150"/>
              <a:ext cx="360000" cy="226591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1000" dirty="0">
                  <a:solidFill>
                    <a:srgbClr val="F2B800"/>
                  </a:solidFill>
                </a:rPr>
                <a:t>± 1.8</a:t>
              </a:r>
            </a:p>
          </p:txBody>
        </p:sp>
      </p:grpSp>
      <p:sp>
        <p:nvSpPr>
          <p:cNvPr id="4" name="Rechteck 3">
            <a:extLst>
              <a:ext uri="{FF2B5EF4-FFF2-40B4-BE49-F238E27FC236}">
                <a16:creationId xmlns:a16="http://schemas.microsoft.com/office/drawing/2014/main" id="{4AF6CE47-6B03-7675-C02D-43EF4D15C629}"/>
              </a:ext>
            </a:extLst>
          </p:cNvPr>
          <p:cNvSpPr/>
          <p:nvPr/>
        </p:nvSpPr>
        <p:spPr>
          <a:xfrm>
            <a:off x="3359696" y="6341816"/>
            <a:ext cx="8774808" cy="211203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de-CH" sz="900" dirty="0">
                <a:solidFill>
                  <a:srgbClr val="F2B800"/>
                </a:solidFill>
                <a:latin typeface="+mj-lt"/>
              </a:rPr>
              <a:t>Sampling </a:t>
            </a:r>
            <a:r>
              <a:rPr lang="de-CH" sz="900" dirty="0" err="1">
                <a:solidFill>
                  <a:srgbClr val="F2B800"/>
                </a:solidFill>
                <a:latin typeface="+mj-lt"/>
              </a:rPr>
              <a:t>error</a:t>
            </a:r>
            <a:r>
              <a:rPr lang="de-CH" sz="900" dirty="0">
                <a:solidFill>
                  <a:srgbClr val="F2B800"/>
                </a:solidFill>
                <a:latin typeface="+mj-lt"/>
              </a:rPr>
              <a:t> (</a:t>
            </a:r>
            <a:r>
              <a:rPr lang="de-CH" sz="900" dirty="0" err="1">
                <a:solidFill>
                  <a:srgbClr val="F2B800"/>
                </a:solidFill>
                <a:latin typeface="+mj-lt"/>
              </a:rPr>
              <a:t>confidence</a:t>
            </a:r>
            <a:r>
              <a:rPr lang="de-CH" sz="900" dirty="0">
                <a:solidFill>
                  <a:srgbClr val="F2B800"/>
                </a:solidFill>
                <a:latin typeface="+mj-lt"/>
              </a:rPr>
              <a:t> </a:t>
            </a:r>
            <a:r>
              <a:rPr lang="de-CH" sz="900" dirty="0" err="1">
                <a:solidFill>
                  <a:srgbClr val="F2B800"/>
                </a:solidFill>
                <a:latin typeface="+mj-lt"/>
              </a:rPr>
              <a:t>level</a:t>
            </a:r>
            <a:r>
              <a:rPr lang="en-GB" sz="900" dirty="0">
                <a:solidFill>
                  <a:srgbClr val="F2B800"/>
                </a:solidFill>
                <a:latin typeface="+mj-lt"/>
              </a:rPr>
              <a:t> </a:t>
            </a:r>
            <a:r>
              <a:rPr lang="de-CH" sz="900" dirty="0">
                <a:solidFill>
                  <a:srgbClr val="F2B800"/>
                </a:solidFill>
                <a:latin typeface="+mj-lt"/>
              </a:rPr>
              <a:t>= 95%) in </a:t>
            </a:r>
            <a:r>
              <a:rPr lang="de-CH" sz="900" dirty="0" err="1">
                <a:solidFill>
                  <a:srgbClr val="F2B800"/>
                </a:solidFill>
                <a:latin typeface="+mj-lt"/>
              </a:rPr>
              <a:t>percentage</a:t>
            </a:r>
            <a:r>
              <a:rPr lang="de-CH" sz="900" dirty="0">
                <a:solidFill>
                  <a:srgbClr val="F2B800"/>
                </a:solidFill>
                <a:latin typeface="+mj-lt"/>
              </a:rPr>
              <a:t> </a:t>
            </a:r>
            <a:r>
              <a:rPr lang="de-CH" sz="900" dirty="0" err="1">
                <a:solidFill>
                  <a:srgbClr val="F2B800"/>
                </a:solidFill>
                <a:latin typeface="+mj-lt"/>
              </a:rPr>
              <a:t>points</a:t>
            </a:r>
            <a:endParaRPr lang="de-CH" sz="900" u="sng" dirty="0">
              <a:solidFill>
                <a:srgbClr val="F2B800"/>
              </a:solidFill>
              <a:latin typeface="+mj-lt"/>
            </a:endParaRPr>
          </a:p>
        </p:txBody>
      </p:sp>
      <p:graphicFrame>
        <p:nvGraphicFramePr>
          <p:cNvPr id="32" name="Diagramm 31">
            <a:extLst>
              <a:ext uri="{FF2B5EF4-FFF2-40B4-BE49-F238E27FC236}">
                <a16:creationId xmlns:a16="http://schemas.microsoft.com/office/drawing/2014/main" id="{096AD30D-C89D-4B8E-B3CA-55451E5264C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66815440"/>
              </p:ext>
            </p:extLst>
          </p:nvPr>
        </p:nvGraphicFramePr>
        <p:xfrm>
          <a:off x="2162454" y="1394331"/>
          <a:ext cx="10029545" cy="48267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</p:spTree>
    <p:extLst>
      <p:ext uri="{BB962C8B-B14F-4D97-AF65-F5344CB8AC3E}">
        <p14:creationId xmlns:p14="http://schemas.microsoft.com/office/powerpoint/2010/main" val="1432230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Diagramm 2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37575208"/>
              </p:ext>
            </p:extLst>
          </p:nvPr>
        </p:nvGraphicFramePr>
        <p:xfrm>
          <a:off x="2162454" y="1394331"/>
          <a:ext cx="10029545" cy="48267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9" name="Objekt 8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6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9" name="Objekt 8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385267" y="399357"/>
            <a:ext cx="10515600" cy="387798"/>
          </a:xfrm>
          <a:ln>
            <a:noFill/>
          </a:ln>
        </p:spPr>
        <p:txBody>
          <a:bodyPr/>
          <a:lstStyle/>
          <a:p>
            <a:r>
              <a:rPr lang="de-CH" dirty="0">
                <a:latin typeface="Cambria" panose="02040503050406030204" pitchFamily="18" charset="0"/>
                <a:ea typeface="Cambria" panose="02040503050406030204" pitchFamily="18" charset="0"/>
              </a:rPr>
              <a:t>Radio </a:t>
            </a:r>
            <a:r>
              <a:rPr lang="de-CH" dirty="0" err="1">
                <a:latin typeface="Cambria" panose="02040503050406030204" pitchFamily="18" charset="0"/>
                <a:ea typeface="Cambria" panose="02040503050406030204" pitchFamily="18" charset="0"/>
              </a:rPr>
              <a:t>use</a:t>
            </a:r>
            <a:r>
              <a:rPr lang="de-CH" dirty="0"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de-CH" dirty="0" err="1">
                <a:latin typeface="Cambria" panose="02040503050406030204" pitchFamily="18" charset="0"/>
                <a:ea typeface="Cambria" panose="02040503050406030204" pitchFamily="18" charset="0"/>
              </a:rPr>
              <a:t>by</a:t>
            </a:r>
            <a:r>
              <a:rPr lang="de-CH" dirty="0"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de-CH" dirty="0" err="1">
                <a:latin typeface="Cambria" panose="02040503050406030204" pitchFamily="18" charset="0"/>
                <a:ea typeface="Cambria" panose="02040503050406030204" pitchFamily="18" charset="0"/>
              </a:rPr>
              <a:t>location</a:t>
            </a:r>
            <a:r>
              <a:rPr lang="de-CH" dirty="0">
                <a:latin typeface="Cambria" panose="02040503050406030204" pitchFamily="18" charset="0"/>
                <a:ea typeface="Cambria" panose="02040503050406030204" pitchFamily="18" charset="0"/>
              </a:rPr>
              <a:t> and </a:t>
            </a:r>
            <a:r>
              <a:rPr lang="de-CH" dirty="0" err="1">
                <a:latin typeface="Cambria" panose="02040503050406030204" pitchFamily="18" charset="0"/>
                <a:ea typeface="Cambria" panose="02040503050406030204" pitchFamily="18" charset="0"/>
              </a:rPr>
              <a:t>mode</a:t>
            </a:r>
            <a:r>
              <a:rPr lang="de-CH" dirty="0"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de-CH" dirty="0" err="1">
                <a:latin typeface="Cambria" panose="02040503050406030204" pitchFamily="18" charset="0"/>
                <a:ea typeface="Cambria" panose="02040503050406030204" pitchFamily="18" charset="0"/>
              </a:rPr>
              <a:t>of</a:t>
            </a:r>
            <a:r>
              <a:rPr lang="de-CH" dirty="0"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de-CH" dirty="0" err="1">
                <a:latin typeface="Cambria" panose="02040503050406030204" pitchFamily="18" charset="0"/>
                <a:ea typeface="Cambria" panose="02040503050406030204" pitchFamily="18" charset="0"/>
              </a:rPr>
              <a:t>reception</a:t>
            </a:r>
            <a:endParaRPr lang="de-CH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E18C1E-C518-44FC-8499-CA04C5B7C512}" type="slidenum">
              <a:rPr lang="de-CH" smtClean="0"/>
              <a:t>7</a:t>
            </a:fld>
            <a:endParaRPr lang="de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85267" y="785640"/>
            <a:ext cx="10505546" cy="470898"/>
          </a:xfrm>
        </p:spPr>
        <p:txBody>
          <a:bodyPr/>
          <a:lstStyle/>
          <a:p>
            <a:r>
              <a:rPr lang="de-CH" sz="1700" b="0" dirty="0"/>
              <a:t>At </a:t>
            </a:r>
            <a:r>
              <a:rPr lang="de-CH" sz="1700" b="0" dirty="0" err="1"/>
              <a:t>home</a:t>
            </a:r>
            <a:r>
              <a:rPr lang="de-CH" sz="1700" b="0" dirty="0"/>
              <a:t>, DAB+ and </a:t>
            </a:r>
            <a:r>
              <a:rPr lang="de-CH" sz="1700" b="0" dirty="0" err="1"/>
              <a:t>internet</a:t>
            </a:r>
            <a:r>
              <a:rPr lang="de-CH" sz="1700" b="0" dirty="0"/>
              <a:t> </a:t>
            </a:r>
            <a:r>
              <a:rPr lang="de-CH" sz="1700" b="0" dirty="0" err="1"/>
              <a:t>are</a:t>
            </a:r>
            <a:r>
              <a:rPr lang="de-CH" sz="1700" b="0" dirty="0"/>
              <a:t> </a:t>
            </a:r>
            <a:r>
              <a:rPr lang="de-CH" sz="1700" b="0" dirty="0" err="1"/>
              <a:t>used</a:t>
            </a:r>
            <a:r>
              <a:rPr lang="de-CH" sz="1700" b="0" dirty="0"/>
              <a:t> </a:t>
            </a:r>
            <a:r>
              <a:rPr lang="de-CH" sz="1700" b="0" dirty="0" err="1"/>
              <a:t>more</a:t>
            </a:r>
            <a:r>
              <a:rPr lang="de-CH" sz="1700" b="0" dirty="0"/>
              <a:t> </a:t>
            </a:r>
            <a:r>
              <a:rPr lang="de-CH" sz="1700" b="0" dirty="0" err="1"/>
              <a:t>or</a:t>
            </a:r>
            <a:r>
              <a:rPr lang="de-CH" sz="1700" b="0" dirty="0"/>
              <a:t> </a:t>
            </a:r>
            <a:r>
              <a:rPr lang="de-CH" sz="1700" b="0" dirty="0" err="1"/>
              <a:t>less</a:t>
            </a:r>
            <a:r>
              <a:rPr lang="de-CH" sz="1700" b="0" dirty="0"/>
              <a:t> </a:t>
            </a:r>
            <a:r>
              <a:rPr lang="de-CH" sz="1700" b="0" dirty="0" err="1"/>
              <a:t>to</a:t>
            </a:r>
            <a:r>
              <a:rPr lang="de-CH" sz="1700" b="0" dirty="0"/>
              <a:t> </a:t>
            </a:r>
            <a:r>
              <a:rPr lang="de-CH" sz="1700" b="0" dirty="0" err="1"/>
              <a:t>the</a:t>
            </a:r>
            <a:r>
              <a:rPr lang="de-CH" sz="1700" b="0" dirty="0"/>
              <a:t> same </a:t>
            </a:r>
            <a:r>
              <a:rPr lang="de-CH" sz="1700" b="0" dirty="0" err="1"/>
              <a:t>extent</a:t>
            </a:r>
            <a:r>
              <a:rPr lang="de-CH" sz="1700" b="0" dirty="0"/>
              <a:t>, at </a:t>
            </a:r>
            <a:r>
              <a:rPr lang="de-CH" sz="1700" b="0" dirty="0" err="1"/>
              <a:t>work</a:t>
            </a:r>
            <a:r>
              <a:rPr lang="de-CH" sz="1700" b="0" dirty="0"/>
              <a:t>, </a:t>
            </a:r>
            <a:r>
              <a:rPr lang="de-CH" sz="1700" b="0" dirty="0" err="1"/>
              <a:t>internet</a:t>
            </a:r>
            <a:r>
              <a:rPr lang="de-CH" sz="1700" b="0" dirty="0"/>
              <a:t> </a:t>
            </a:r>
            <a:r>
              <a:rPr lang="de-CH" sz="1700" b="0" dirty="0" err="1"/>
              <a:t>radio</a:t>
            </a:r>
            <a:r>
              <a:rPr lang="de-CH" sz="1700" b="0" dirty="0"/>
              <a:t> </a:t>
            </a:r>
            <a:r>
              <a:rPr lang="de-CH" sz="1700" b="0" dirty="0" err="1"/>
              <a:t>is</a:t>
            </a:r>
            <a:r>
              <a:rPr lang="de-CH" sz="1700" b="0" dirty="0"/>
              <a:t> </a:t>
            </a:r>
            <a:r>
              <a:rPr lang="de-CH" sz="1700" b="0" dirty="0" err="1"/>
              <a:t>the</a:t>
            </a:r>
            <a:r>
              <a:rPr lang="de-CH" sz="1700" b="0" dirty="0"/>
              <a:t> </a:t>
            </a:r>
            <a:r>
              <a:rPr lang="de-CH" sz="1700" b="0" dirty="0" err="1"/>
              <a:t>most</a:t>
            </a:r>
            <a:r>
              <a:rPr lang="de-CH" sz="1700" b="0" dirty="0"/>
              <a:t> </a:t>
            </a:r>
            <a:r>
              <a:rPr lang="de-CH" sz="1700" b="0" dirty="0" err="1"/>
              <a:t>popular</a:t>
            </a:r>
            <a:r>
              <a:rPr lang="de-CH" sz="1700" b="0" dirty="0"/>
              <a:t> </a:t>
            </a:r>
            <a:r>
              <a:rPr lang="de-CH" sz="1700" b="0" dirty="0" err="1"/>
              <a:t>mode</a:t>
            </a:r>
            <a:r>
              <a:rPr lang="de-CH" sz="1700" b="0" dirty="0"/>
              <a:t>         </a:t>
            </a:r>
            <a:r>
              <a:rPr lang="de-CH" sz="1700" b="0" dirty="0" err="1"/>
              <a:t>of</a:t>
            </a:r>
            <a:r>
              <a:rPr lang="de-CH" sz="1700" b="0" dirty="0"/>
              <a:t> </a:t>
            </a:r>
            <a:r>
              <a:rPr lang="de-CH" sz="1700" b="0" dirty="0" err="1"/>
              <a:t>reception</a:t>
            </a:r>
            <a:r>
              <a:rPr lang="de-CH" sz="1700" b="0" dirty="0"/>
              <a:t>. In </a:t>
            </a:r>
            <a:r>
              <a:rPr lang="de-CH" sz="1700" b="0" dirty="0" err="1"/>
              <a:t>the</a:t>
            </a:r>
            <a:r>
              <a:rPr lang="de-CH" sz="1700" b="0" dirty="0"/>
              <a:t> </a:t>
            </a:r>
            <a:r>
              <a:rPr lang="de-CH" sz="1700" b="0" dirty="0" err="1"/>
              <a:t>car</a:t>
            </a:r>
            <a:r>
              <a:rPr lang="de-CH" sz="1700" b="0" dirty="0"/>
              <a:t> DAB+ </a:t>
            </a:r>
            <a:r>
              <a:rPr lang="de-CH" sz="1700" b="0" dirty="0" err="1"/>
              <a:t>is</a:t>
            </a:r>
            <a:r>
              <a:rPr lang="de-CH" sz="1700" b="0" dirty="0"/>
              <a:t> </a:t>
            </a:r>
            <a:r>
              <a:rPr lang="de-CH" sz="1700" b="0" dirty="0" err="1"/>
              <a:t>the</a:t>
            </a:r>
            <a:r>
              <a:rPr lang="de-CH" sz="1700" b="0" dirty="0"/>
              <a:t> </a:t>
            </a:r>
            <a:r>
              <a:rPr lang="de-CH" sz="1700" b="0" dirty="0" err="1"/>
              <a:t>clear</a:t>
            </a:r>
            <a:r>
              <a:rPr lang="de-CH" sz="1700" b="0" dirty="0"/>
              <a:t> </a:t>
            </a:r>
            <a:r>
              <a:rPr lang="de-CH" sz="1700" b="0" dirty="0" err="1"/>
              <a:t>leader</a:t>
            </a:r>
            <a:r>
              <a:rPr lang="de-CH" sz="1700" b="0" dirty="0"/>
              <a:t> </a:t>
            </a:r>
            <a:r>
              <a:rPr lang="de-CH" sz="1700" b="0" dirty="0" err="1"/>
              <a:t>where</a:t>
            </a:r>
            <a:r>
              <a:rPr lang="de-CH" sz="1700" b="0" dirty="0"/>
              <a:t> a total </a:t>
            </a:r>
            <a:r>
              <a:rPr lang="de-CH" sz="1700" b="0" dirty="0" err="1"/>
              <a:t>of</a:t>
            </a:r>
            <a:r>
              <a:rPr lang="de-CH" sz="1700" b="0" dirty="0"/>
              <a:t> 68 out </a:t>
            </a:r>
            <a:r>
              <a:rPr lang="de-CH" sz="1700" b="0" dirty="0" err="1"/>
              <a:t>of</a:t>
            </a:r>
            <a:r>
              <a:rPr lang="de-CH" sz="1700" b="0" dirty="0"/>
              <a:t> 100 </a:t>
            </a:r>
            <a:r>
              <a:rPr lang="de-CH" sz="1700" b="0" dirty="0" err="1"/>
              <a:t>minutes</a:t>
            </a:r>
            <a:r>
              <a:rPr lang="de-CH" sz="1700" b="0" dirty="0"/>
              <a:t> </a:t>
            </a:r>
            <a:r>
              <a:rPr lang="de-CH" sz="1700" b="0" dirty="0" err="1"/>
              <a:t>of</a:t>
            </a:r>
            <a:r>
              <a:rPr lang="de-CH" sz="1700" b="0" dirty="0"/>
              <a:t> </a:t>
            </a:r>
            <a:r>
              <a:rPr lang="de-CH" sz="1700" b="0" dirty="0" err="1"/>
              <a:t>radio</a:t>
            </a:r>
            <a:r>
              <a:rPr lang="de-CH" sz="1700" b="0" dirty="0"/>
              <a:t> </a:t>
            </a:r>
            <a:r>
              <a:rPr lang="de-CH" sz="1700" b="0" dirty="0" err="1"/>
              <a:t>listening</a:t>
            </a:r>
            <a:r>
              <a:rPr lang="de-CH" sz="1700" b="0" dirty="0"/>
              <a:t> </a:t>
            </a:r>
            <a:r>
              <a:rPr lang="de-CH" sz="1700" b="0" dirty="0" err="1"/>
              <a:t>are</a:t>
            </a:r>
            <a:r>
              <a:rPr lang="de-CH" sz="1700" b="0" dirty="0"/>
              <a:t> digital.</a:t>
            </a:r>
          </a:p>
        </p:txBody>
      </p:sp>
      <p:sp>
        <p:nvSpPr>
          <p:cNvPr id="51" name="Inhaltsplatzhalter 5"/>
          <p:cNvSpPr txBox="1">
            <a:spLocks/>
          </p:cNvSpPr>
          <p:nvPr/>
        </p:nvSpPr>
        <p:spPr>
          <a:xfrm>
            <a:off x="371475" y="1364643"/>
            <a:ext cx="11327356" cy="1938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adio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usag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(in per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cent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)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y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od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of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reception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and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usag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location</a:t>
            </a:r>
            <a:endParaRPr lang="de-CH" sz="1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68" name="Grafik 67"/>
          <p:cNvPicPr>
            <a:picLocks noChangeAspect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31267"/>
          <a:stretch/>
        </p:blipFill>
        <p:spPr>
          <a:xfrm>
            <a:off x="6384032" y="1970467"/>
            <a:ext cx="503515" cy="428333"/>
          </a:xfrm>
          <a:prstGeom prst="rect">
            <a:avLst/>
          </a:prstGeom>
        </p:spPr>
      </p:pic>
      <p:pic>
        <p:nvPicPr>
          <p:cNvPr id="70" name="Grafik 69"/>
          <p:cNvPicPr>
            <a:picLocks noChangeAspect="1"/>
          </p:cNvPicPr>
          <p:nvPr/>
        </p:nvPicPr>
        <p:blipFill>
          <a:blip r:embed="rId10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0736" y="1903380"/>
            <a:ext cx="522896" cy="510520"/>
          </a:xfrm>
          <a:prstGeom prst="rect">
            <a:avLst/>
          </a:prstGeom>
        </p:spPr>
      </p:pic>
      <p:sp>
        <p:nvSpPr>
          <p:cNvPr id="85" name="RbLeanShape Right U-Shape 13"/>
          <p:cNvSpPr/>
          <p:nvPr/>
        </p:nvSpPr>
        <p:spPr>
          <a:xfrm rot="5400000">
            <a:off x="9259379" y="1273387"/>
            <a:ext cx="331355" cy="4641570"/>
          </a:xfrm>
          <a:custGeom>
            <a:avLst/>
            <a:gdLst>
              <a:gd name="connsiteX0" fmla="*/ 1270000 w 1270000"/>
              <a:gd name="connsiteY0" fmla="*/ 0 h 3175000"/>
              <a:gd name="connsiteX1" fmla="*/ 0 w 1270000"/>
              <a:gd name="connsiteY1" fmla="*/ 0 h 3175000"/>
              <a:gd name="connsiteX2" fmla="*/ 0 w 1270000"/>
              <a:gd name="connsiteY2" fmla="*/ 3175000 h 3175000"/>
              <a:gd name="connsiteX3" fmla="*/ 1270000 w 1270000"/>
              <a:gd name="connsiteY3" fmla="*/ 317500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0000" h="3175000">
                <a:moveTo>
                  <a:pt x="1270000" y="0"/>
                </a:moveTo>
                <a:lnTo>
                  <a:pt x="0" y="0"/>
                </a:lnTo>
                <a:lnTo>
                  <a:pt x="0" y="3175000"/>
                </a:lnTo>
                <a:lnTo>
                  <a:pt x="1270000" y="3175000"/>
                </a:lnTo>
              </a:path>
            </a:pathLst>
          </a:custGeom>
          <a:ln w="19050">
            <a:solidFill>
              <a:srgbClr val="DA18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0000" tIns="90000" rIns="0" bIns="0" rtlCol="0" anchor="t"/>
          <a:lstStyle/>
          <a:p>
            <a:pPr fontAlgn="ctr"/>
            <a:endParaRPr lang="de-CH" sz="1300" b="1"/>
          </a:p>
        </p:txBody>
      </p:sp>
      <p:sp>
        <p:nvSpPr>
          <p:cNvPr id="87" name="RbLeanShape Right U-Shape 13"/>
          <p:cNvSpPr/>
          <p:nvPr/>
        </p:nvSpPr>
        <p:spPr>
          <a:xfrm rot="16200000" flipV="1">
            <a:off x="9259379" y="3392902"/>
            <a:ext cx="331355" cy="4641889"/>
          </a:xfrm>
          <a:custGeom>
            <a:avLst/>
            <a:gdLst>
              <a:gd name="connsiteX0" fmla="*/ 1270000 w 1270000"/>
              <a:gd name="connsiteY0" fmla="*/ 0 h 3175000"/>
              <a:gd name="connsiteX1" fmla="*/ 0 w 1270000"/>
              <a:gd name="connsiteY1" fmla="*/ 0 h 3175000"/>
              <a:gd name="connsiteX2" fmla="*/ 0 w 1270000"/>
              <a:gd name="connsiteY2" fmla="*/ 3175000 h 3175000"/>
              <a:gd name="connsiteX3" fmla="*/ 1270000 w 1270000"/>
              <a:gd name="connsiteY3" fmla="*/ 317500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0000" h="3175000">
                <a:moveTo>
                  <a:pt x="1270000" y="0"/>
                </a:moveTo>
                <a:lnTo>
                  <a:pt x="0" y="0"/>
                </a:lnTo>
                <a:lnTo>
                  <a:pt x="0" y="3175000"/>
                </a:lnTo>
                <a:lnTo>
                  <a:pt x="1270000" y="3175000"/>
                </a:lnTo>
              </a:path>
            </a:pathLst>
          </a:custGeom>
          <a:ln w="19050">
            <a:solidFill>
              <a:srgbClr val="DA18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0000" tIns="90000" rIns="0" bIns="0" rtlCol="0" anchor="t"/>
          <a:lstStyle/>
          <a:p>
            <a:pPr fontAlgn="ctr"/>
            <a:endParaRPr lang="de-CH" sz="1300" b="1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dirty="0"/>
              <a:t>DIGIMIG - </a:t>
            </a:r>
            <a:r>
              <a:rPr lang="en-US" dirty="0"/>
              <a:t>The research project on the digital migration of radio usage in Switzerland</a:t>
            </a:r>
            <a:endParaRPr lang="de-CH" dirty="0"/>
          </a:p>
        </p:txBody>
      </p:sp>
      <p:cxnSp>
        <p:nvCxnSpPr>
          <p:cNvPr id="55" name="Gerade Verbindung 54"/>
          <p:cNvCxnSpPr/>
          <p:nvPr/>
        </p:nvCxnSpPr>
        <p:spPr>
          <a:xfrm>
            <a:off x="371475" y="1270165"/>
            <a:ext cx="11353800" cy="0"/>
          </a:xfrm>
          <a:prstGeom prst="line">
            <a:avLst/>
          </a:prstGeom>
          <a:ln w="19050">
            <a:gradFill flip="none" rotWithShape="1">
              <a:gsLst>
                <a:gs pos="43000">
                  <a:srgbClr val="DA1838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hteck 70"/>
          <p:cNvSpPr/>
          <p:nvPr/>
        </p:nvSpPr>
        <p:spPr>
          <a:xfrm>
            <a:off x="10653469" y="6808"/>
            <a:ext cx="121969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CH" sz="1400" b="1" dirty="0">
                <a:solidFill>
                  <a:srgbClr val="DA1838"/>
                </a:solidFill>
              </a:rPr>
              <a:t>PLACE OF USE</a:t>
            </a:r>
          </a:p>
        </p:txBody>
      </p:sp>
      <p:sp>
        <p:nvSpPr>
          <p:cNvPr id="92" name="Rechteck: abgerundete Ecken 91">
            <a:extLst>
              <a:ext uri="{FF2B5EF4-FFF2-40B4-BE49-F238E27FC236}">
                <a16:creationId xmlns:a16="http://schemas.microsoft.com/office/drawing/2014/main" id="{EC366CE4-8041-49EC-87F0-73F97385BA8A}"/>
              </a:ext>
            </a:extLst>
          </p:cNvPr>
          <p:cNvSpPr/>
          <p:nvPr/>
        </p:nvSpPr>
        <p:spPr>
          <a:xfrm>
            <a:off x="5231904" y="1808840"/>
            <a:ext cx="396000" cy="180000"/>
          </a:xfrm>
          <a:prstGeom prst="round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CH" sz="1400" dirty="0">
                <a:solidFill>
                  <a:schemeClr val="accent6"/>
                </a:solidFill>
              </a:rPr>
              <a:t>+17</a:t>
            </a:r>
          </a:p>
        </p:txBody>
      </p:sp>
      <p:sp>
        <p:nvSpPr>
          <p:cNvPr id="93" name="Rechteck: abgerundete Ecken 92">
            <a:extLst>
              <a:ext uri="{FF2B5EF4-FFF2-40B4-BE49-F238E27FC236}">
                <a16:creationId xmlns:a16="http://schemas.microsoft.com/office/drawing/2014/main" id="{CCD87B79-3B4F-47DF-93AE-FC99B2A1CAEC}"/>
              </a:ext>
            </a:extLst>
          </p:cNvPr>
          <p:cNvSpPr/>
          <p:nvPr/>
        </p:nvSpPr>
        <p:spPr>
          <a:xfrm>
            <a:off x="7680176" y="1795372"/>
            <a:ext cx="396000" cy="180000"/>
          </a:xfrm>
          <a:prstGeom prst="round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CH" sz="1400" dirty="0">
                <a:solidFill>
                  <a:schemeClr val="accent6"/>
                </a:solidFill>
              </a:rPr>
              <a:t>+12</a:t>
            </a:r>
          </a:p>
        </p:txBody>
      </p:sp>
      <p:sp>
        <p:nvSpPr>
          <p:cNvPr id="94" name="Rechteck: abgerundete Ecken 93">
            <a:extLst>
              <a:ext uri="{FF2B5EF4-FFF2-40B4-BE49-F238E27FC236}">
                <a16:creationId xmlns:a16="http://schemas.microsoft.com/office/drawing/2014/main" id="{D383CDBB-9C09-48D9-8FAE-724A0378A9CC}"/>
              </a:ext>
            </a:extLst>
          </p:cNvPr>
          <p:cNvSpPr/>
          <p:nvPr/>
        </p:nvSpPr>
        <p:spPr>
          <a:xfrm>
            <a:off x="2927648" y="1795372"/>
            <a:ext cx="396000" cy="180000"/>
          </a:xfrm>
          <a:prstGeom prst="roundRect">
            <a:avLst/>
          </a:prstGeom>
          <a:solidFill>
            <a:schemeClr val="bg1"/>
          </a:solidFill>
          <a:ln>
            <a:solidFill>
              <a:srgbClr val="DA1838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CH" sz="1400" dirty="0">
                <a:solidFill>
                  <a:srgbClr val="DA1838"/>
                </a:solidFill>
              </a:rPr>
              <a:t>-29</a:t>
            </a:r>
          </a:p>
        </p:txBody>
      </p:sp>
      <p:sp>
        <p:nvSpPr>
          <p:cNvPr id="95" name="Rechteck: abgerundete Ecken 94">
            <a:extLst>
              <a:ext uri="{FF2B5EF4-FFF2-40B4-BE49-F238E27FC236}">
                <a16:creationId xmlns:a16="http://schemas.microsoft.com/office/drawing/2014/main" id="{948C72B4-9F28-4174-A873-93641A7AD725}"/>
              </a:ext>
            </a:extLst>
          </p:cNvPr>
          <p:cNvSpPr/>
          <p:nvPr/>
        </p:nvSpPr>
        <p:spPr>
          <a:xfrm>
            <a:off x="2279576" y="2523945"/>
            <a:ext cx="396000" cy="180000"/>
          </a:xfrm>
          <a:prstGeom prst="roundRect">
            <a:avLst/>
          </a:prstGeom>
          <a:solidFill>
            <a:schemeClr val="bg1"/>
          </a:solidFill>
          <a:ln>
            <a:solidFill>
              <a:srgbClr val="DA1838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CH" sz="1400" dirty="0">
                <a:solidFill>
                  <a:srgbClr val="DA1838"/>
                </a:solidFill>
              </a:rPr>
              <a:t>-30</a:t>
            </a:r>
          </a:p>
        </p:txBody>
      </p:sp>
      <p:sp>
        <p:nvSpPr>
          <p:cNvPr id="97" name="Rechteck: abgerundete Ecken 96">
            <a:extLst>
              <a:ext uri="{FF2B5EF4-FFF2-40B4-BE49-F238E27FC236}">
                <a16:creationId xmlns:a16="http://schemas.microsoft.com/office/drawing/2014/main" id="{F8B6B396-9780-4AD2-8327-14528CAE63E7}"/>
              </a:ext>
            </a:extLst>
          </p:cNvPr>
          <p:cNvSpPr/>
          <p:nvPr/>
        </p:nvSpPr>
        <p:spPr>
          <a:xfrm>
            <a:off x="2855640" y="2523945"/>
            <a:ext cx="396000" cy="180000"/>
          </a:xfrm>
          <a:prstGeom prst="round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CH" sz="1400" dirty="0">
                <a:solidFill>
                  <a:schemeClr val="accent6"/>
                </a:solidFill>
              </a:rPr>
              <a:t>+12</a:t>
            </a:r>
          </a:p>
        </p:txBody>
      </p:sp>
      <p:sp>
        <p:nvSpPr>
          <p:cNvPr id="98" name="Rechteck: abgerundete Ecken 97">
            <a:extLst>
              <a:ext uri="{FF2B5EF4-FFF2-40B4-BE49-F238E27FC236}">
                <a16:creationId xmlns:a16="http://schemas.microsoft.com/office/drawing/2014/main" id="{8E772E1C-24B3-4EEB-9433-2C8745ACDB55}"/>
              </a:ext>
            </a:extLst>
          </p:cNvPr>
          <p:cNvSpPr/>
          <p:nvPr/>
        </p:nvSpPr>
        <p:spPr>
          <a:xfrm>
            <a:off x="3647728" y="2523945"/>
            <a:ext cx="396000" cy="180000"/>
          </a:xfrm>
          <a:prstGeom prst="round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CH" sz="1400" dirty="0">
                <a:solidFill>
                  <a:schemeClr val="accent6"/>
                </a:solidFill>
              </a:rPr>
              <a:t>+17</a:t>
            </a:r>
          </a:p>
        </p:txBody>
      </p:sp>
      <p:sp>
        <p:nvSpPr>
          <p:cNvPr id="99" name="Rechteck: abgerundete Ecken 98">
            <a:extLst>
              <a:ext uri="{FF2B5EF4-FFF2-40B4-BE49-F238E27FC236}">
                <a16:creationId xmlns:a16="http://schemas.microsoft.com/office/drawing/2014/main" id="{A62F13CD-04B1-4543-A382-AE501DEDCA30}"/>
              </a:ext>
            </a:extLst>
          </p:cNvPr>
          <p:cNvSpPr/>
          <p:nvPr/>
        </p:nvSpPr>
        <p:spPr>
          <a:xfrm>
            <a:off x="2279576" y="3254456"/>
            <a:ext cx="396000" cy="180000"/>
          </a:xfrm>
          <a:prstGeom prst="roundRect">
            <a:avLst/>
          </a:prstGeom>
          <a:solidFill>
            <a:schemeClr val="bg1"/>
          </a:solidFill>
          <a:ln>
            <a:solidFill>
              <a:srgbClr val="DA1838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CH" sz="1400" dirty="0">
                <a:solidFill>
                  <a:srgbClr val="DA1838"/>
                </a:solidFill>
              </a:rPr>
              <a:t>-39</a:t>
            </a:r>
          </a:p>
        </p:txBody>
      </p:sp>
      <p:sp>
        <p:nvSpPr>
          <p:cNvPr id="100" name="Rechteck: abgerundete Ecken 99">
            <a:extLst>
              <a:ext uri="{FF2B5EF4-FFF2-40B4-BE49-F238E27FC236}">
                <a16:creationId xmlns:a16="http://schemas.microsoft.com/office/drawing/2014/main" id="{A20CEFAB-A756-4AD6-A23C-59E605213781}"/>
              </a:ext>
            </a:extLst>
          </p:cNvPr>
          <p:cNvSpPr/>
          <p:nvPr/>
        </p:nvSpPr>
        <p:spPr>
          <a:xfrm>
            <a:off x="2855640" y="3254456"/>
            <a:ext cx="396000" cy="180000"/>
          </a:xfrm>
          <a:prstGeom prst="round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CH" sz="1400" dirty="0">
                <a:solidFill>
                  <a:schemeClr val="accent6"/>
                </a:solidFill>
              </a:rPr>
              <a:t>+35</a:t>
            </a:r>
          </a:p>
        </p:txBody>
      </p:sp>
      <p:sp>
        <p:nvSpPr>
          <p:cNvPr id="96" name="Ellipse 95">
            <a:extLst>
              <a:ext uri="{FF2B5EF4-FFF2-40B4-BE49-F238E27FC236}">
                <a16:creationId xmlns:a16="http://schemas.microsoft.com/office/drawing/2014/main" id="{83769CD4-793C-40BD-B1FF-B1ECD48B0D03}"/>
              </a:ext>
            </a:extLst>
          </p:cNvPr>
          <p:cNvSpPr/>
          <p:nvPr/>
        </p:nvSpPr>
        <p:spPr>
          <a:xfrm>
            <a:off x="10890812" y="282575"/>
            <a:ext cx="720000" cy="720000"/>
          </a:xfrm>
          <a:prstGeom prst="ellipse">
            <a:avLst/>
          </a:prstGeom>
          <a:gradFill>
            <a:gsLst>
              <a:gs pos="100000">
                <a:srgbClr val="F5A1AF"/>
              </a:gs>
              <a:gs pos="35000">
                <a:srgbClr val="DA1838"/>
              </a:gs>
              <a:gs pos="1000">
                <a:srgbClr val="A2122A"/>
              </a:gs>
              <a:gs pos="65000">
                <a:srgbClr val="EC526C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pic>
        <p:nvPicPr>
          <p:cNvPr id="101" name="Grafik 100">
            <a:extLst>
              <a:ext uri="{FF2B5EF4-FFF2-40B4-BE49-F238E27FC236}">
                <a16:creationId xmlns:a16="http://schemas.microsoft.com/office/drawing/2014/main" id="{3FB85915-DD5B-4667-973F-735DFE0546DA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0926" y="355983"/>
            <a:ext cx="519668" cy="519668"/>
          </a:xfrm>
          <a:prstGeom prst="rect">
            <a:avLst/>
          </a:prstGeom>
        </p:spPr>
      </p:pic>
      <p:pic>
        <p:nvPicPr>
          <p:cNvPr id="84" name="Grafik 83">
            <a:extLst>
              <a:ext uri="{FF2B5EF4-FFF2-40B4-BE49-F238E27FC236}">
                <a16:creationId xmlns:a16="http://schemas.microsoft.com/office/drawing/2014/main" id="{F8CBDC71-4AA3-4B13-813A-6E6D4A6ECE7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63752" y="1973036"/>
            <a:ext cx="573809" cy="336441"/>
          </a:xfrm>
          <a:prstGeom prst="rect">
            <a:avLst/>
          </a:prstGeom>
        </p:spPr>
      </p:pic>
      <p:sp>
        <p:nvSpPr>
          <p:cNvPr id="103" name="Textfeld 102">
            <a:extLst>
              <a:ext uri="{FF2B5EF4-FFF2-40B4-BE49-F238E27FC236}">
                <a16:creationId xmlns:a16="http://schemas.microsoft.com/office/drawing/2014/main" id="{BCD48C51-1872-4956-B9D0-88F5FBA8B605}"/>
              </a:ext>
            </a:extLst>
          </p:cNvPr>
          <p:cNvSpPr txBox="1"/>
          <p:nvPr/>
        </p:nvSpPr>
        <p:spPr>
          <a:xfrm>
            <a:off x="371475" y="6367067"/>
            <a:ext cx="795023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ource: GfK Switzerland, </a:t>
            </a:r>
            <a:r>
              <a:rPr lang="de-CH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DigiMig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urvey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, n(2023/2)=2’725)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A5ACCE0F-488E-4DA1-B85D-8107CFA8C30A}"/>
              </a:ext>
            </a:extLst>
          </p:cNvPr>
          <p:cNvSpPr>
            <a:spLocks/>
          </p:cNvSpPr>
          <p:nvPr/>
        </p:nvSpPr>
        <p:spPr>
          <a:xfrm>
            <a:off x="7141410" y="3686523"/>
            <a:ext cx="4587443" cy="2262158"/>
          </a:xfrm>
          <a:prstGeom prst="rect">
            <a:avLst/>
          </a:prstGeom>
          <a:noFill/>
          <a:ln w="28575">
            <a:noFill/>
          </a:ln>
        </p:spPr>
        <p:txBody>
          <a:bodyPr wrap="square" rtlCol="0">
            <a:spAutoFit/>
          </a:bodyPr>
          <a:lstStyle/>
          <a:p>
            <a:pPr>
              <a:spcAft>
                <a:spcPts val="1800"/>
              </a:spcAft>
            </a:pPr>
            <a:r>
              <a: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The majority of DAB+ use takes place at hom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: </a:t>
            </a:r>
            <a:r>
              <a:rPr lang="de-CH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62% </a:t>
            </a:r>
            <a:r>
              <a:rPr lang="de-CH" sz="14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of</a:t>
            </a:r>
            <a:r>
              <a:rPr lang="de-CH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DAB+ </a:t>
            </a:r>
            <a:r>
              <a:rPr lang="de-CH" sz="14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use</a:t>
            </a:r>
            <a:r>
              <a:rPr lang="de-CH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overall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. 18%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of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DAB+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radio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us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is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in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th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car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and 17%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is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at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th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plac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of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work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or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education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.</a:t>
            </a:r>
          </a:p>
          <a:p>
            <a:pPr>
              <a:spcAft>
                <a:spcPts val="1800"/>
              </a:spcAft>
            </a:pP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In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terms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of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har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,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listening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via FM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radio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is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still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most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popular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in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th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car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(33%)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compared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to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at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hom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or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at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work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,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whil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listening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via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internet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is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still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relatively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rare in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th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car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(13%).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Of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all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th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radio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minutes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listened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to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, DAB+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is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th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preferred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mod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of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reception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with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55% (in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th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car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) and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approx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. 40% (at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hom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and at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work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). </a:t>
            </a:r>
          </a:p>
        </p:txBody>
      </p:sp>
      <p:sp>
        <p:nvSpPr>
          <p:cNvPr id="73" name="Rechteck: abgerundete Ecken 72">
            <a:extLst>
              <a:ext uri="{FF2B5EF4-FFF2-40B4-BE49-F238E27FC236}">
                <a16:creationId xmlns:a16="http://schemas.microsoft.com/office/drawing/2014/main" id="{BA249712-2206-41C7-B389-57B564C0CE26}"/>
              </a:ext>
            </a:extLst>
          </p:cNvPr>
          <p:cNvSpPr/>
          <p:nvPr/>
        </p:nvSpPr>
        <p:spPr>
          <a:xfrm>
            <a:off x="8985542" y="1903878"/>
            <a:ext cx="2439737" cy="496547"/>
          </a:xfrm>
          <a:prstGeom prst="round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Change compared to</a:t>
            </a:r>
            <a:br>
              <a:rPr lang="en-US" sz="1400" dirty="0">
                <a:solidFill>
                  <a:schemeClr val="bg1">
                    <a:lumMod val="65000"/>
                  </a:schemeClr>
                </a:solidFill>
                <a:latin typeface="+mj-lt"/>
              </a:rPr>
            </a:br>
            <a:r>
              <a:rPr lang="en-US" sz="14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2015/2 in percentage points</a:t>
            </a:r>
          </a:p>
        </p:txBody>
      </p:sp>
      <p:graphicFrame>
        <p:nvGraphicFramePr>
          <p:cNvPr id="18" name="Diagramm 17">
            <a:extLst>
              <a:ext uri="{FF2B5EF4-FFF2-40B4-BE49-F238E27FC236}">
                <a16:creationId xmlns:a16="http://schemas.microsoft.com/office/drawing/2014/main" id="{269CF2D4-0E49-44E9-A30C-486AFD3833C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60568524"/>
              </p:ext>
            </p:extLst>
          </p:nvPr>
        </p:nvGraphicFramePr>
        <p:xfrm>
          <a:off x="3920529" y="3423276"/>
          <a:ext cx="2918281" cy="24562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pic>
        <p:nvPicPr>
          <p:cNvPr id="46" name="Grafik 45">
            <a:extLst>
              <a:ext uri="{FF2B5EF4-FFF2-40B4-BE49-F238E27FC236}">
                <a16:creationId xmlns:a16="http://schemas.microsoft.com/office/drawing/2014/main" id="{065ECACC-CB34-466C-9601-9F7EF065F8BE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1851" y="2574120"/>
            <a:ext cx="597551" cy="597551"/>
          </a:xfrm>
          <a:prstGeom prst="rect">
            <a:avLst/>
          </a:prstGeom>
        </p:spPr>
      </p:pic>
      <p:pic>
        <p:nvPicPr>
          <p:cNvPr id="47" name="Grafik 46">
            <a:extLst>
              <a:ext uri="{FF2B5EF4-FFF2-40B4-BE49-F238E27FC236}">
                <a16:creationId xmlns:a16="http://schemas.microsoft.com/office/drawing/2014/main" id="{5611042E-6285-4F81-B361-04322CFD5AC1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4845" y="3154938"/>
            <a:ext cx="715360" cy="715360"/>
          </a:xfrm>
          <a:prstGeom prst="rect">
            <a:avLst/>
          </a:prstGeom>
        </p:spPr>
      </p:pic>
      <p:pic>
        <p:nvPicPr>
          <p:cNvPr id="48" name="Grafik 47">
            <a:extLst>
              <a:ext uri="{FF2B5EF4-FFF2-40B4-BE49-F238E27FC236}">
                <a16:creationId xmlns:a16="http://schemas.microsoft.com/office/drawing/2014/main" id="{08A108F1-D0B9-4C87-BE02-1FCC9A6AB667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6879" y="4688877"/>
            <a:ext cx="827612" cy="827610"/>
          </a:xfrm>
          <a:prstGeom prst="rect">
            <a:avLst/>
          </a:prstGeom>
        </p:spPr>
      </p:pic>
      <p:pic>
        <p:nvPicPr>
          <p:cNvPr id="49" name="Grafik 48">
            <a:extLst>
              <a:ext uri="{FF2B5EF4-FFF2-40B4-BE49-F238E27FC236}">
                <a16:creationId xmlns:a16="http://schemas.microsoft.com/office/drawing/2014/main" id="{1FBDB840-6903-4EF6-A34C-DEAB810F7B5D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20">
                    <a14:imgEffect>
                      <a14:brightnessContrast bright="68000" contrast="-6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7518" y="4099464"/>
            <a:ext cx="599618" cy="599616"/>
          </a:xfrm>
          <a:prstGeom prst="rect">
            <a:avLst/>
          </a:prstGeom>
        </p:spPr>
      </p:pic>
      <p:sp>
        <p:nvSpPr>
          <p:cNvPr id="50" name="Split 8636356572805261670">
            <a:extLst>
              <a:ext uri="{FF2B5EF4-FFF2-40B4-BE49-F238E27FC236}">
                <a16:creationId xmlns:a16="http://schemas.microsoft.com/office/drawing/2014/main" id="{626B0747-B31C-4878-BF62-46CF02506097}"/>
              </a:ext>
            </a:extLst>
          </p:cNvPr>
          <p:cNvSpPr txBox="1"/>
          <p:nvPr/>
        </p:nvSpPr>
        <p:spPr>
          <a:xfrm>
            <a:off x="0" y="2038409"/>
            <a:ext cx="1396255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buClr>
                <a:srgbClr val="000000"/>
              </a:buClr>
              <a:buSzPct val="100000"/>
            </a:pPr>
            <a:r>
              <a:rPr lang="de-CH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Home</a:t>
            </a:r>
          </a:p>
        </p:txBody>
      </p:sp>
      <p:sp>
        <p:nvSpPr>
          <p:cNvPr id="52" name="Split 9636356572805261670">
            <a:extLst>
              <a:ext uri="{FF2B5EF4-FFF2-40B4-BE49-F238E27FC236}">
                <a16:creationId xmlns:a16="http://schemas.microsoft.com/office/drawing/2014/main" id="{0C3FC83A-F301-4F8E-A22C-7ACA83F69264}"/>
              </a:ext>
            </a:extLst>
          </p:cNvPr>
          <p:cNvSpPr txBox="1"/>
          <p:nvPr/>
        </p:nvSpPr>
        <p:spPr>
          <a:xfrm>
            <a:off x="0" y="2773497"/>
            <a:ext cx="1396255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buClr>
                <a:srgbClr val="000000"/>
              </a:buClr>
              <a:buSzPct val="100000"/>
            </a:pPr>
            <a:r>
              <a:rPr lang="de-CH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Work</a:t>
            </a:r>
          </a:p>
        </p:txBody>
      </p:sp>
      <p:sp>
        <p:nvSpPr>
          <p:cNvPr id="53" name="Split 10636356572805261670">
            <a:extLst>
              <a:ext uri="{FF2B5EF4-FFF2-40B4-BE49-F238E27FC236}">
                <a16:creationId xmlns:a16="http://schemas.microsoft.com/office/drawing/2014/main" id="{D46914CD-17A2-437F-9917-E3C270B52490}"/>
              </a:ext>
            </a:extLst>
          </p:cNvPr>
          <p:cNvSpPr txBox="1"/>
          <p:nvPr/>
        </p:nvSpPr>
        <p:spPr>
          <a:xfrm>
            <a:off x="0" y="3508585"/>
            <a:ext cx="1396255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buClr>
                <a:srgbClr val="000000"/>
              </a:buClr>
              <a:buSzPct val="100000"/>
            </a:pPr>
            <a:r>
              <a:rPr lang="de-CH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Car</a:t>
            </a:r>
          </a:p>
        </p:txBody>
      </p:sp>
      <p:sp>
        <p:nvSpPr>
          <p:cNvPr id="54" name="Split 11636356572805261670">
            <a:extLst>
              <a:ext uri="{FF2B5EF4-FFF2-40B4-BE49-F238E27FC236}">
                <a16:creationId xmlns:a16="http://schemas.microsoft.com/office/drawing/2014/main" id="{32EC5992-2C7E-471A-A4EC-380548750030}"/>
              </a:ext>
            </a:extLst>
          </p:cNvPr>
          <p:cNvSpPr txBox="1"/>
          <p:nvPr/>
        </p:nvSpPr>
        <p:spPr>
          <a:xfrm>
            <a:off x="0" y="4979903"/>
            <a:ext cx="1396255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buClr>
                <a:srgbClr val="000000"/>
              </a:buClr>
              <a:buSzPct val="100000"/>
            </a:pPr>
            <a:r>
              <a:rPr lang="de-CH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ports</a:t>
            </a:r>
          </a:p>
        </p:txBody>
      </p:sp>
      <p:sp>
        <p:nvSpPr>
          <p:cNvPr id="58" name="Split 13636356572805261670">
            <a:extLst>
              <a:ext uri="{FF2B5EF4-FFF2-40B4-BE49-F238E27FC236}">
                <a16:creationId xmlns:a16="http://schemas.microsoft.com/office/drawing/2014/main" id="{2E3C2A33-1758-4BA6-84CE-6D5560F704B3}"/>
              </a:ext>
            </a:extLst>
          </p:cNvPr>
          <p:cNvSpPr txBox="1"/>
          <p:nvPr/>
        </p:nvSpPr>
        <p:spPr>
          <a:xfrm>
            <a:off x="11878" y="4276162"/>
            <a:ext cx="1396255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buClr>
                <a:srgbClr val="000000"/>
              </a:buClr>
              <a:buSzPct val="100000"/>
            </a:pPr>
            <a:r>
              <a:rPr lang="de-CH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On </a:t>
            </a:r>
            <a:r>
              <a:rPr lang="de-CH" sz="16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the</a:t>
            </a:r>
            <a:r>
              <a:rPr lang="de-CH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6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go</a:t>
            </a:r>
            <a:endParaRPr lang="de-CH" sz="1600" b="1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sp>
        <p:nvSpPr>
          <p:cNvPr id="67" name="Split 14636356572805261670">
            <a:extLst>
              <a:ext uri="{FF2B5EF4-FFF2-40B4-BE49-F238E27FC236}">
                <a16:creationId xmlns:a16="http://schemas.microsoft.com/office/drawing/2014/main" id="{3E13F4EC-B0CA-4A8E-9ABF-9F40E70C7508}"/>
              </a:ext>
            </a:extLst>
          </p:cNvPr>
          <p:cNvSpPr txBox="1"/>
          <p:nvPr/>
        </p:nvSpPr>
        <p:spPr>
          <a:xfrm>
            <a:off x="0" y="5713847"/>
            <a:ext cx="1396255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>
              <a:buClr>
                <a:srgbClr val="000000"/>
              </a:buClr>
              <a:buSzPct val="100000"/>
            </a:pPr>
            <a:r>
              <a:rPr lang="de-CH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Other</a:t>
            </a:r>
          </a:p>
        </p:txBody>
      </p:sp>
      <p:sp>
        <p:nvSpPr>
          <p:cNvPr id="69" name="Freeform 46">
            <a:extLst>
              <a:ext uri="{FF2B5EF4-FFF2-40B4-BE49-F238E27FC236}">
                <a16:creationId xmlns:a16="http://schemas.microsoft.com/office/drawing/2014/main" id="{D93C9A29-D379-4867-B557-6BA69C0E36FA}"/>
              </a:ext>
            </a:extLst>
          </p:cNvPr>
          <p:cNvSpPr>
            <a:spLocks noEditPoints="1"/>
          </p:cNvSpPr>
          <p:nvPr/>
        </p:nvSpPr>
        <p:spPr bwMode="auto">
          <a:xfrm>
            <a:off x="1904172" y="5642198"/>
            <a:ext cx="320554" cy="377514"/>
          </a:xfrm>
          <a:custGeom>
            <a:avLst/>
            <a:gdLst>
              <a:gd name="T0" fmla="*/ 248 w 550"/>
              <a:gd name="T1" fmla="*/ 6 h 648"/>
              <a:gd name="T2" fmla="*/ 449 w 550"/>
              <a:gd name="T3" fmla="*/ 81 h 648"/>
              <a:gd name="T4" fmla="*/ 491 w 550"/>
              <a:gd name="T5" fmla="*/ 381 h 648"/>
              <a:gd name="T6" fmla="*/ 434 w 550"/>
              <a:gd name="T7" fmla="*/ 447 h 648"/>
              <a:gd name="T8" fmla="*/ 293 w 550"/>
              <a:gd name="T9" fmla="*/ 615 h 648"/>
              <a:gd name="T10" fmla="*/ 266 w 550"/>
              <a:gd name="T11" fmla="*/ 648 h 648"/>
              <a:gd name="T12" fmla="*/ 209 w 550"/>
              <a:gd name="T13" fmla="*/ 585 h 648"/>
              <a:gd name="T14" fmla="*/ 155 w 550"/>
              <a:gd name="T15" fmla="*/ 519 h 648"/>
              <a:gd name="T16" fmla="*/ 44 w 550"/>
              <a:gd name="T17" fmla="*/ 390 h 648"/>
              <a:gd name="T18" fmla="*/ 11 w 550"/>
              <a:gd name="T19" fmla="*/ 216 h 648"/>
              <a:gd name="T20" fmla="*/ 248 w 550"/>
              <a:gd name="T21" fmla="*/ 6 h 648"/>
              <a:gd name="T22" fmla="*/ 155 w 550"/>
              <a:gd name="T23" fmla="*/ 282 h 648"/>
              <a:gd name="T24" fmla="*/ 221 w 550"/>
              <a:gd name="T25" fmla="*/ 348 h 648"/>
              <a:gd name="T26" fmla="*/ 374 w 550"/>
              <a:gd name="T27" fmla="*/ 282 h 648"/>
              <a:gd name="T28" fmla="*/ 248 w 550"/>
              <a:gd name="T29" fmla="*/ 129 h 648"/>
              <a:gd name="T30" fmla="*/ 155 w 550"/>
              <a:gd name="T31" fmla="*/ 282 h 6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50" h="648">
                <a:moveTo>
                  <a:pt x="248" y="6"/>
                </a:moveTo>
                <a:cubicBezTo>
                  <a:pt x="329" y="0"/>
                  <a:pt x="402" y="33"/>
                  <a:pt x="449" y="81"/>
                </a:cubicBezTo>
                <a:cubicBezTo>
                  <a:pt x="513" y="147"/>
                  <a:pt x="550" y="283"/>
                  <a:pt x="491" y="381"/>
                </a:cubicBezTo>
                <a:cubicBezTo>
                  <a:pt x="477" y="405"/>
                  <a:pt x="455" y="423"/>
                  <a:pt x="434" y="447"/>
                </a:cubicBezTo>
                <a:cubicBezTo>
                  <a:pt x="388" y="501"/>
                  <a:pt x="345" y="554"/>
                  <a:pt x="293" y="615"/>
                </a:cubicBezTo>
                <a:cubicBezTo>
                  <a:pt x="283" y="627"/>
                  <a:pt x="268" y="648"/>
                  <a:pt x="266" y="648"/>
                </a:cubicBezTo>
                <a:cubicBezTo>
                  <a:pt x="261" y="648"/>
                  <a:pt x="228" y="608"/>
                  <a:pt x="209" y="585"/>
                </a:cubicBezTo>
                <a:cubicBezTo>
                  <a:pt x="187" y="560"/>
                  <a:pt x="171" y="537"/>
                  <a:pt x="155" y="519"/>
                </a:cubicBezTo>
                <a:cubicBezTo>
                  <a:pt x="111" y="468"/>
                  <a:pt x="68" y="426"/>
                  <a:pt x="44" y="390"/>
                </a:cubicBezTo>
                <a:cubicBezTo>
                  <a:pt x="19" y="352"/>
                  <a:pt x="0" y="279"/>
                  <a:pt x="11" y="216"/>
                </a:cubicBezTo>
                <a:cubicBezTo>
                  <a:pt x="29" y="111"/>
                  <a:pt x="122" y="15"/>
                  <a:pt x="248" y="6"/>
                </a:cubicBezTo>
                <a:close/>
                <a:moveTo>
                  <a:pt x="155" y="282"/>
                </a:moveTo>
                <a:cubicBezTo>
                  <a:pt x="166" y="311"/>
                  <a:pt x="194" y="338"/>
                  <a:pt x="221" y="348"/>
                </a:cubicBezTo>
                <a:cubicBezTo>
                  <a:pt x="295" y="375"/>
                  <a:pt x="357" y="328"/>
                  <a:pt x="374" y="282"/>
                </a:cubicBezTo>
                <a:cubicBezTo>
                  <a:pt x="405" y="198"/>
                  <a:pt x="334" y="117"/>
                  <a:pt x="248" y="129"/>
                </a:cubicBezTo>
                <a:cubicBezTo>
                  <a:pt x="176" y="139"/>
                  <a:pt x="128" y="209"/>
                  <a:pt x="155" y="282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CH"/>
          </a:p>
        </p:txBody>
      </p:sp>
      <p:pic>
        <p:nvPicPr>
          <p:cNvPr id="74" name="Grafik 73">
            <a:extLst>
              <a:ext uri="{FF2B5EF4-FFF2-40B4-BE49-F238E27FC236}">
                <a16:creationId xmlns:a16="http://schemas.microsoft.com/office/drawing/2014/main" id="{177F71AD-C3EC-4894-9898-874C89B9BA0D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brightnessContrast bright="46000" contrast="-3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3547" y="1843507"/>
            <a:ext cx="567332" cy="567332"/>
          </a:xfrm>
          <a:prstGeom prst="rect">
            <a:avLst/>
          </a:prstGeom>
        </p:spPr>
      </p:pic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17C6CD05-3312-43A6-94EB-33BA487DC2CB}"/>
              </a:ext>
            </a:extLst>
          </p:cNvPr>
          <p:cNvGrpSpPr/>
          <p:nvPr/>
        </p:nvGrpSpPr>
        <p:grpSpPr>
          <a:xfrm>
            <a:off x="8985542" y="2931149"/>
            <a:ext cx="854874" cy="854874"/>
            <a:chOff x="9913644" y="2470186"/>
            <a:chExt cx="854874" cy="854874"/>
          </a:xfrm>
        </p:grpSpPr>
        <p:sp>
          <p:nvSpPr>
            <p:cNvPr id="57" name="Textfeld 56">
              <a:extLst>
                <a:ext uri="{FF2B5EF4-FFF2-40B4-BE49-F238E27FC236}">
                  <a16:creationId xmlns:a16="http://schemas.microsoft.com/office/drawing/2014/main" id="{7D9C2177-3ADD-4805-B13C-1B4CA4AFDB73}"/>
                </a:ext>
              </a:extLst>
            </p:cNvPr>
            <p:cNvSpPr txBox="1"/>
            <p:nvPr/>
          </p:nvSpPr>
          <p:spPr>
            <a:xfrm>
              <a:off x="10003361" y="2799966"/>
              <a:ext cx="675441" cy="384405"/>
            </a:xfrm>
            <a:prstGeom prst="rect">
              <a:avLst/>
            </a:prstGeom>
            <a:noFill/>
          </p:spPr>
          <p:txBody>
            <a:bodyPr spcFirstLastPara="1" wrap="none" numCol="1" rtlCol="0">
              <a:prstTxWarp prst="textArchDown">
                <a:avLst/>
              </a:prstTxWarp>
              <a:spAutoFit/>
            </a:bodyPr>
            <a:lstStyle>
              <a:defPPr>
                <a:defRPr lang="de-DE"/>
              </a:defPPr>
              <a:lvl1pPr algn="ctr">
                <a:defRPr sz="1600" b="1">
                  <a:solidFill>
                    <a:srgbClr val="DA1838"/>
                  </a:solidFill>
                  <a:latin typeface="Calibri Light" panose="020F0302020204030204" pitchFamily="34" charset="0"/>
                </a:defRPr>
              </a:lvl1pPr>
            </a:lstStyle>
            <a:p>
              <a:r>
                <a:rPr lang="de-CH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FACTS</a:t>
              </a:r>
            </a:p>
          </p:txBody>
        </p:sp>
        <p:sp>
          <p:nvSpPr>
            <p:cNvPr id="59" name="Ellipse 58">
              <a:extLst>
                <a:ext uri="{FF2B5EF4-FFF2-40B4-BE49-F238E27FC236}">
                  <a16:creationId xmlns:a16="http://schemas.microsoft.com/office/drawing/2014/main" id="{30E6403A-944D-4D4C-A1F8-AFF2437DF904}"/>
                </a:ext>
              </a:extLst>
            </p:cNvPr>
            <p:cNvSpPr/>
            <p:nvPr/>
          </p:nvSpPr>
          <p:spPr>
            <a:xfrm>
              <a:off x="9913644" y="2470186"/>
              <a:ext cx="854874" cy="854874"/>
            </a:xfrm>
            <a:prstGeom prst="ellipse">
              <a:avLst/>
            </a:prstGeom>
            <a:gradFill>
              <a:gsLst>
                <a:gs pos="100000">
                  <a:srgbClr val="F5A1AF"/>
                </a:gs>
                <a:gs pos="35000">
                  <a:srgbClr val="DA1838"/>
                </a:gs>
                <a:gs pos="1000">
                  <a:srgbClr val="A2122A"/>
                </a:gs>
                <a:gs pos="65000">
                  <a:srgbClr val="EC526C"/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27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  <p:sp>
          <p:nvSpPr>
            <p:cNvPr id="60" name="Textfeld 59">
              <a:extLst>
                <a:ext uri="{FF2B5EF4-FFF2-40B4-BE49-F238E27FC236}">
                  <a16:creationId xmlns:a16="http://schemas.microsoft.com/office/drawing/2014/main" id="{AA04979D-A23A-4BD1-B6E9-3F9300B3A82B}"/>
                </a:ext>
              </a:extLst>
            </p:cNvPr>
            <p:cNvSpPr txBox="1"/>
            <p:nvPr/>
          </p:nvSpPr>
          <p:spPr>
            <a:xfrm>
              <a:off x="10003361" y="2724661"/>
              <a:ext cx="675441" cy="246424"/>
            </a:xfrm>
            <a:prstGeom prst="rect">
              <a:avLst/>
            </a:prstGeom>
            <a:noFill/>
          </p:spPr>
          <p:txBody>
            <a:bodyPr spcFirstLastPara="1" wrap="none" numCol="1" rtlCol="0">
              <a:spAutoFit/>
            </a:bodyPr>
            <a:lstStyle>
              <a:defPPr>
                <a:defRPr lang="de-DE"/>
              </a:defPPr>
              <a:lvl1pPr algn="ctr">
                <a:defRPr sz="1600" b="1">
                  <a:solidFill>
                    <a:srgbClr val="DA1838"/>
                  </a:solidFill>
                  <a:latin typeface="Calibri Light" panose="020F0302020204030204" pitchFamily="34" charset="0"/>
                </a:defRPr>
              </a:lvl1pPr>
            </a:lstStyle>
            <a:p>
              <a:r>
                <a:rPr lang="de-CH" dirty="0">
                  <a:solidFill>
                    <a:schemeClr val="bg1"/>
                  </a:solidFill>
                </a:rPr>
                <a:t>FACT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96711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9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FC3EE5AA-94F8-42E6-BCF2-363D06DB05D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CH" sz="28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0A121E1F-4920-4FF0-9C4A-B95DD01877D0}"/>
              </a:ext>
            </a:extLst>
          </p:cNvPr>
          <p:cNvGrpSpPr/>
          <p:nvPr/>
        </p:nvGrpSpPr>
        <p:grpSpPr>
          <a:xfrm>
            <a:off x="1415983" y="1710886"/>
            <a:ext cx="4088838" cy="3761595"/>
            <a:chOff x="1529467" y="1713413"/>
            <a:chExt cx="4088838" cy="3761595"/>
          </a:xfrm>
        </p:grpSpPr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35688312-F15F-4F11-A39F-639C6EA58D55}"/>
                </a:ext>
              </a:extLst>
            </p:cNvPr>
            <p:cNvSpPr/>
            <p:nvPr/>
          </p:nvSpPr>
          <p:spPr>
            <a:xfrm>
              <a:off x="2309000" y="1713413"/>
              <a:ext cx="2529773" cy="2529773"/>
            </a:xfrm>
            <a:custGeom>
              <a:avLst/>
              <a:gdLst>
                <a:gd name="connsiteX0" fmla="*/ 0 w 2529773"/>
                <a:gd name="connsiteY0" fmla="*/ 1264887 h 2529773"/>
                <a:gd name="connsiteX1" fmla="*/ 1264887 w 2529773"/>
                <a:gd name="connsiteY1" fmla="*/ 0 h 2529773"/>
                <a:gd name="connsiteX2" fmla="*/ 2529774 w 2529773"/>
                <a:gd name="connsiteY2" fmla="*/ 1264887 h 2529773"/>
                <a:gd name="connsiteX3" fmla="*/ 1264887 w 2529773"/>
                <a:gd name="connsiteY3" fmla="*/ 2529774 h 2529773"/>
                <a:gd name="connsiteX4" fmla="*/ 0 w 2529773"/>
                <a:gd name="connsiteY4" fmla="*/ 1264887 h 2529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29773" h="2529773">
                  <a:moveTo>
                    <a:pt x="0" y="1264887"/>
                  </a:moveTo>
                  <a:cubicBezTo>
                    <a:pt x="0" y="566309"/>
                    <a:pt x="566309" y="0"/>
                    <a:pt x="1264887" y="0"/>
                  </a:cubicBezTo>
                  <a:cubicBezTo>
                    <a:pt x="1963465" y="0"/>
                    <a:pt x="2529774" y="566309"/>
                    <a:pt x="2529774" y="1264887"/>
                  </a:cubicBezTo>
                  <a:cubicBezTo>
                    <a:pt x="2529774" y="1963465"/>
                    <a:pt x="1963465" y="2529774"/>
                    <a:pt x="1264887" y="2529774"/>
                  </a:cubicBezTo>
                  <a:cubicBezTo>
                    <a:pt x="566309" y="2529774"/>
                    <a:pt x="0" y="1963465"/>
                    <a:pt x="0" y="1264887"/>
                  </a:cubicBezTo>
                  <a:close/>
                </a:path>
              </a:pathLst>
            </a:custGeom>
            <a:solidFill>
              <a:schemeClr val="bg1">
                <a:lumMod val="65000"/>
                <a:alpha val="6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  <p:txBody>
            <a:bodyPr spcFirstLastPara="0" vert="horz" wrap="square" lIns="337303" tIns="442710" rIns="337303" bIns="948665" numCol="1" spcCol="1270" anchor="ctr" anchorCtr="0">
              <a:noAutofit/>
            </a:bodyPr>
            <a:lstStyle/>
            <a:p>
              <a:pPr marL="0" lvl="0" indent="0" algn="ctr" defTabSz="2889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de-DE" sz="6500" kern="1200" dirty="0"/>
            </a:p>
          </p:txBody>
        </p:sp>
        <p:grpSp>
          <p:nvGrpSpPr>
            <p:cNvPr id="21" name="Gruppieren 20">
              <a:extLst>
                <a:ext uri="{FF2B5EF4-FFF2-40B4-BE49-F238E27FC236}">
                  <a16:creationId xmlns:a16="http://schemas.microsoft.com/office/drawing/2014/main" id="{A5BF8B54-B776-4EC9-B2DE-65020F336BCD}"/>
                </a:ext>
              </a:extLst>
            </p:cNvPr>
            <p:cNvGrpSpPr/>
            <p:nvPr/>
          </p:nvGrpSpPr>
          <p:grpSpPr>
            <a:xfrm>
              <a:off x="1529467" y="2943667"/>
              <a:ext cx="4088838" cy="2531341"/>
              <a:chOff x="1529467" y="2943667"/>
              <a:chExt cx="4088838" cy="2531341"/>
            </a:xfrm>
          </p:grpSpPr>
          <p:sp>
            <p:nvSpPr>
              <p:cNvPr id="19" name="Freihandform: Form 18">
                <a:extLst>
                  <a:ext uri="{FF2B5EF4-FFF2-40B4-BE49-F238E27FC236}">
                    <a16:creationId xmlns:a16="http://schemas.microsoft.com/office/drawing/2014/main" id="{A262B702-79F4-4958-90A3-F6DFB2D97578}"/>
                  </a:ext>
                </a:extLst>
              </p:cNvPr>
              <p:cNvSpPr/>
              <p:nvPr/>
            </p:nvSpPr>
            <p:spPr>
              <a:xfrm>
                <a:off x="3088532" y="2943667"/>
                <a:ext cx="2529773" cy="2529773"/>
              </a:xfrm>
              <a:custGeom>
                <a:avLst/>
                <a:gdLst>
                  <a:gd name="connsiteX0" fmla="*/ 0 w 2529773"/>
                  <a:gd name="connsiteY0" fmla="*/ 1264887 h 2529773"/>
                  <a:gd name="connsiteX1" fmla="*/ 1264887 w 2529773"/>
                  <a:gd name="connsiteY1" fmla="*/ 0 h 2529773"/>
                  <a:gd name="connsiteX2" fmla="*/ 2529774 w 2529773"/>
                  <a:gd name="connsiteY2" fmla="*/ 1264887 h 2529773"/>
                  <a:gd name="connsiteX3" fmla="*/ 1264887 w 2529773"/>
                  <a:gd name="connsiteY3" fmla="*/ 2529774 h 2529773"/>
                  <a:gd name="connsiteX4" fmla="*/ 0 w 2529773"/>
                  <a:gd name="connsiteY4" fmla="*/ 1264887 h 25297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29773" h="2529773">
                    <a:moveTo>
                      <a:pt x="0" y="1264887"/>
                    </a:moveTo>
                    <a:cubicBezTo>
                      <a:pt x="0" y="566309"/>
                      <a:pt x="566309" y="0"/>
                      <a:pt x="1264887" y="0"/>
                    </a:cubicBezTo>
                    <a:cubicBezTo>
                      <a:pt x="1963465" y="0"/>
                      <a:pt x="2529774" y="566309"/>
                      <a:pt x="2529774" y="1264887"/>
                    </a:cubicBezTo>
                    <a:cubicBezTo>
                      <a:pt x="2529774" y="1963465"/>
                      <a:pt x="1963465" y="2529774"/>
                      <a:pt x="1264887" y="2529774"/>
                    </a:cubicBezTo>
                    <a:cubicBezTo>
                      <a:pt x="566309" y="2529774"/>
                      <a:pt x="0" y="1963465"/>
                      <a:pt x="0" y="1264887"/>
                    </a:cubicBezTo>
                    <a:close/>
                  </a:path>
                </a:pathLst>
              </a:custGeom>
              <a:solidFill>
                <a:schemeClr val="tx1">
                  <a:alpha val="63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alpha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/>
              </a:fontRef>
            </p:style>
            <p:txBody>
              <a:bodyPr spcFirstLastPara="0" vert="horz" wrap="square" lIns="773689" tIns="653525" rIns="238220" bIns="484873" numCol="1" spcCol="1270" anchor="ctr" anchorCtr="0">
                <a:noAutofit/>
              </a:bodyPr>
              <a:lstStyle/>
              <a:p>
                <a:pPr marL="0" lvl="0" indent="0" algn="ctr" defTabSz="28892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de-DE" sz="6500" kern="1200" dirty="0"/>
              </a:p>
            </p:txBody>
          </p:sp>
          <p:sp>
            <p:nvSpPr>
              <p:cNvPr id="20" name="Freihandform: Form 19">
                <a:extLst>
                  <a:ext uri="{FF2B5EF4-FFF2-40B4-BE49-F238E27FC236}">
                    <a16:creationId xmlns:a16="http://schemas.microsoft.com/office/drawing/2014/main" id="{5B33A43A-638F-468A-A467-77D3B6EDF049}"/>
                  </a:ext>
                </a:extLst>
              </p:cNvPr>
              <p:cNvSpPr/>
              <p:nvPr/>
            </p:nvSpPr>
            <p:spPr>
              <a:xfrm>
                <a:off x="1529467" y="2945235"/>
                <a:ext cx="2529773" cy="2529773"/>
              </a:xfrm>
              <a:custGeom>
                <a:avLst/>
                <a:gdLst>
                  <a:gd name="connsiteX0" fmla="*/ 0 w 2529773"/>
                  <a:gd name="connsiteY0" fmla="*/ 1264887 h 2529773"/>
                  <a:gd name="connsiteX1" fmla="*/ 1264887 w 2529773"/>
                  <a:gd name="connsiteY1" fmla="*/ 0 h 2529773"/>
                  <a:gd name="connsiteX2" fmla="*/ 2529774 w 2529773"/>
                  <a:gd name="connsiteY2" fmla="*/ 1264887 h 2529773"/>
                  <a:gd name="connsiteX3" fmla="*/ 1264887 w 2529773"/>
                  <a:gd name="connsiteY3" fmla="*/ 2529774 h 2529773"/>
                  <a:gd name="connsiteX4" fmla="*/ 0 w 2529773"/>
                  <a:gd name="connsiteY4" fmla="*/ 1264887 h 25297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29773" h="2529773">
                    <a:moveTo>
                      <a:pt x="0" y="1264887"/>
                    </a:moveTo>
                    <a:cubicBezTo>
                      <a:pt x="0" y="566309"/>
                      <a:pt x="566309" y="0"/>
                      <a:pt x="1264887" y="0"/>
                    </a:cubicBezTo>
                    <a:cubicBezTo>
                      <a:pt x="1963465" y="0"/>
                      <a:pt x="2529774" y="566309"/>
                      <a:pt x="2529774" y="1264887"/>
                    </a:cubicBezTo>
                    <a:cubicBezTo>
                      <a:pt x="2529774" y="1963465"/>
                      <a:pt x="1963465" y="2529774"/>
                      <a:pt x="1264887" y="2529774"/>
                    </a:cubicBezTo>
                    <a:cubicBezTo>
                      <a:pt x="566309" y="2529774"/>
                      <a:pt x="0" y="1963465"/>
                      <a:pt x="0" y="1264887"/>
                    </a:cubicBezTo>
                    <a:close/>
                  </a:path>
                </a:pathLst>
              </a:custGeom>
              <a:solidFill>
                <a:srgbClr val="E93B58">
                  <a:alpha val="62000"/>
                </a:srgb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alpha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/>
              </a:fontRef>
            </p:style>
            <p:txBody>
              <a:bodyPr spcFirstLastPara="0" vert="horz" wrap="square" lIns="238220" tIns="653525" rIns="773689" bIns="484873" numCol="1" spcCol="1270" anchor="ctr" anchorCtr="0">
                <a:noAutofit/>
              </a:bodyPr>
              <a:lstStyle/>
              <a:p>
                <a:pPr marL="0" lvl="0" indent="0" algn="ctr" defTabSz="28892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de-DE" sz="6500" kern="1200" dirty="0"/>
              </a:p>
            </p:txBody>
          </p:sp>
        </p:grpSp>
      </p:grp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Penetration </a:t>
            </a:r>
            <a:r>
              <a:rPr lang="de-CH" dirty="0" err="1"/>
              <a:t>by</a:t>
            </a:r>
            <a:r>
              <a:rPr lang="de-CH" dirty="0"/>
              <a:t> </a:t>
            </a:r>
            <a:r>
              <a:rPr lang="de-CH" dirty="0" err="1"/>
              <a:t>mode</a:t>
            </a:r>
            <a:r>
              <a:rPr lang="de-CH" dirty="0"/>
              <a:t>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reception</a:t>
            </a:r>
            <a:endParaRPr lang="de-CH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85266" y="773357"/>
            <a:ext cx="10298919" cy="470898"/>
          </a:xfrm>
        </p:spPr>
        <p:txBody>
          <a:bodyPr/>
          <a:lstStyle/>
          <a:p>
            <a:r>
              <a:rPr lang="de-CH" sz="1700" b="0" dirty="0"/>
              <a:t>77% </a:t>
            </a:r>
            <a:r>
              <a:rPr lang="de-CH" sz="1700" b="0" dirty="0" err="1"/>
              <a:t>of</a:t>
            </a:r>
            <a:r>
              <a:rPr lang="de-CH" sz="1700" b="0" dirty="0"/>
              <a:t> </a:t>
            </a:r>
            <a:r>
              <a:rPr lang="de-CH" sz="1700" b="0" dirty="0" err="1"/>
              <a:t>the</a:t>
            </a:r>
            <a:r>
              <a:rPr lang="de-CH" sz="1700" b="0" dirty="0"/>
              <a:t> </a:t>
            </a:r>
            <a:r>
              <a:rPr lang="de-CH" sz="1700" b="0" dirty="0" err="1"/>
              <a:t>population</a:t>
            </a:r>
            <a:r>
              <a:rPr lang="de-CH" sz="1700" b="0" dirty="0"/>
              <a:t> </a:t>
            </a:r>
            <a:r>
              <a:rPr lang="de-CH" sz="1700" b="0" dirty="0" err="1"/>
              <a:t>use</a:t>
            </a:r>
            <a:r>
              <a:rPr lang="de-CH" sz="1700" b="0" dirty="0"/>
              <a:t> digital </a:t>
            </a:r>
            <a:r>
              <a:rPr lang="de-CH" sz="1700" b="0" dirty="0" err="1"/>
              <a:t>radio</a:t>
            </a:r>
            <a:r>
              <a:rPr lang="de-CH" sz="1700" b="0" dirty="0"/>
              <a:t>. </a:t>
            </a:r>
            <a:r>
              <a:rPr lang="de-CH" sz="1700" b="0" dirty="0" err="1"/>
              <a:t>Of</a:t>
            </a:r>
            <a:r>
              <a:rPr lang="de-CH" sz="1700" b="0" dirty="0"/>
              <a:t> </a:t>
            </a:r>
            <a:r>
              <a:rPr lang="de-CH" sz="1700" b="0" dirty="0" err="1"/>
              <a:t>this</a:t>
            </a:r>
            <a:r>
              <a:rPr lang="de-CH" sz="1700" b="0" dirty="0"/>
              <a:t> </a:t>
            </a:r>
            <a:r>
              <a:rPr lang="de-CH" sz="1700" b="0" dirty="0" err="1"/>
              <a:t>share</a:t>
            </a:r>
            <a:r>
              <a:rPr lang="de-CH" sz="1700" b="0" dirty="0"/>
              <a:t>, 40% also </a:t>
            </a:r>
            <a:r>
              <a:rPr lang="de-CH" sz="1700" b="0" dirty="0" err="1"/>
              <a:t>use</a:t>
            </a:r>
            <a:r>
              <a:rPr lang="de-CH" sz="1700" b="0" dirty="0"/>
              <a:t> FM </a:t>
            </a:r>
            <a:r>
              <a:rPr lang="de-CH" sz="1700" b="0" dirty="0" err="1"/>
              <a:t>radio</a:t>
            </a:r>
            <a:r>
              <a:rPr lang="de-CH" sz="1700" b="0" dirty="0"/>
              <a:t>. The </a:t>
            </a:r>
            <a:r>
              <a:rPr lang="de-CH" sz="1700" b="0" dirty="0" err="1"/>
              <a:t>proportion</a:t>
            </a:r>
            <a:r>
              <a:rPr lang="de-CH" sz="1700" b="0" dirty="0"/>
              <a:t> </a:t>
            </a:r>
            <a:r>
              <a:rPr lang="de-CH" sz="1700" b="0" dirty="0" err="1"/>
              <a:t>of</a:t>
            </a:r>
            <a:r>
              <a:rPr lang="de-CH" sz="1700" b="0" dirty="0"/>
              <a:t> digital-</a:t>
            </a:r>
            <a:r>
              <a:rPr lang="de-CH" sz="1700" b="0" dirty="0" err="1"/>
              <a:t>only</a:t>
            </a:r>
            <a:r>
              <a:rPr lang="de-CH" sz="1700" b="0" dirty="0"/>
              <a:t> </a:t>
            </a:r>
            <a:r>
              <a:rPr lang="de-CH" sz="1700" b="0" dirty="0" err="1"/>
              <a:t>radio</a:t>
            </a:r>
            <a:r>
              <a:rPr lang="de-CH" sz="1700" b="0" dirty="0"/>
              <a:t> </a:t>
            </a:r>
            <a:r>
              <a:rPr lang="de-CH" sz="1700" b="0" dirty="0" err="1"/>
              <a:t>users</a:t>
            </a:r>
            <a:r>
              <a:rPr lang="de-CH" sz="1700" b="0" dirty="0"/>
              <a:t> </a:t>
            </a:r>
            <a:r>
              <a:rPr lang="de-CH" sz="1700" b="0" dirty="0" err="1"/>
              <a:t>is</a:t>
            </a:r>
            <a:r>
              <a:rPr lang="de-CH" sz="1700" b="0" dirty="0"/>
              <a:t> 46%; 10% </a:t>
            </a:r>
            <a:r>
              <a:rPr lang="de-CH" sz="1700" b="0" dirty="0" err="1"/>
              <a:t>say</a:t>
            </a:r>
            <a:r>
              <a:rPr lang="de-CH" sz="1700" b="0" dirty="0"/>
              <a:t> </a:t>
            </a:r>
            <a:r>
              <a:rPr lang="de-CH" sz="1700" b="0" dirty="0" err="1"/>
              <a:t>that</a:t>
            </a:r>
            <a:r>
              <a:rPr lang="de-CH" sz="1700" b="0" dirty="0"/>
              <a:t> </a:t>
            </a:r>
            <a:r>
              <a:rPr lang="de-CH" sz="1700" b="0" dirty="0" err="1"/>
              <a:t>they</a:t>
            </a:r>
            <a:r>
              <a:rPr lang="de-CH" sz="1700" b="0" dirty="0"/>
              <a:t> </a:t>
            </a:r>
            <a:r>
              <a:rPr lang="de-CH" sz="1700" b="0" dirty="0" err="1"/>
              <a:t>use</a:t>
            </a:r>
            <a:r>
              <a:rPr lang="de-CH" sz="1700" b="0" dirty="0"/>
              <a:t> FM </a:t>
            </a:r>
            <a:r>
              <a:rPr lang="de-CH" sz="1700" b="0" dirty="0" err="1"/>
              <a:t>exclusively</a:t>
            </a:r>
            <a:r>
              <a:rPr lang="de-CH" sz="1700" b="0" dirty="0"/>
              <a:t>.</a:t>
            </a:r>
          </a:p>
        </p:txBody>
      </p:sp>
      <p:sp>
        <p:nvSpPr>
          <p:cNvPr id="30" name="Textfeld 29"/>
          <p:cNvSpPr txBox="1"/>
          <p:nvPr/>
        </p:nvSpPr>
        <p:spPr>
          <a:xfrm>
            <a:off x="7450444" y="2375216"/>
            <a:ext cx="4219536" cy="3370153"/>
          </a:xfrm>
          <a:prstGeom prst="rect">
            <a:avLst/>
          </a:prstGeom>
          <a:noFill/>
          <a:ln w="28575">
            <a:noFill/>
          </a:ln>
        </p:spPr>
        <p:txBody>
          <a:bodyPr wrap="square" rtlCol="0">
            <a:spAutoFit/>
          </a:bodyPr>
          <a:lstStyle/>
          <a:p>
            <a:pPr>
              <a:spcAft>
                <a:spcPts val="1800"/>
              </a:spcAft>
            </a:pPr>
            <a:r>
              <a:rPr lang="en-GB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The distribution of the individual reception modes is slowly shifting away from FM towards digital reception modes.</a:t>
            </a:r>
            <a:endParaRPr lang="de-CH" sz="14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  <a:p>
            <a:pPr>
              <a:spcAft>
                <a:spcPts val="1800"/>
              </a:spcAft>
            </a:pP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77%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of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th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population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us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digital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radio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(DAB+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or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IP/TV).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Almost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half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of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th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population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(46%)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us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digital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radio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exclusively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. </a:t>
            </a:r>
          </a:p>
          <a:p>
            <a:pPr>
              <a:spcAft>
                <a:spcPts val="1800"/>
              </a:spcAft>
            </a:pP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41% </a:t>
            </a:r>
            <a:r>
              <a:rPr lang="en-GB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of the population still use analogue radio – at least partially or in one location – 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and 31% in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combination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with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digital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reception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modes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; 10%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of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peopl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ay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they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listen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to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radio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exclusively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via FM.</a:t>
            </a:r>
          </a:p>
          <a:p>
            <a:pPr>
              <a:spcAft>
                <a:spcPts val="1800"/>
              </a:spcAft>
            </a:pP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12%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us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Internet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radio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exclusively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, 14%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only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us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DAB+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to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listen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to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the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radio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.</a:t>
            </a:r>
          </a:p>
        </p:txBody>
      </p:sp>
      <p:sp>
        <p:nvSpPr>
          <p:cNvPr id="40" name="Inhaltsplatzhalter 5"/>
          <p:cNvSpPr txBox="1">
            <a:spLocks/>
          </p:cNvSpPr>
          <p:nvPr/>
        </p:nvSpPr>
        <p:spPr>
          <a:xfrm>
            <a:off x="371475" y="1364643"/>
            <a:ext cx="11327356" cy="1938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hare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of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transmission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vectors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(in per </a:t>
            </a:r>
            <a:r>
              <a:rPr lang="de-CH" sz="14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cent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)</a:t>
            </a:r>
          </a:p>
        </p:txBody>
      </p:sp>
      <p:sp>
        <p:nvSpPr>
          <p:cNvPr id="80" name="RbLeanShape Right U-Shape 13"/>
          <p:cNvSpPr/>
          <p:nvPr/>
        </p:nvSpPr>
        <p:spPr>
          <a:xfrm rot="5400000">
            <a:off x="9427080" y="-53855"/>
            <a:ext cx="331355" cy="4226925"/>
          </a:xfrm>
          <a:custGeom>
            <a:avLst/>
            <a:gdLst>
              <a:gd name="connsiteX0" fmla="*/ 1270000 w 1270000"/>
              <a:gd name="connsiteY0" fmla="*/ 0 h 3175000"/>
              <a:gd name="connsiteX1" fmla="*/ 0 w 1270000"/>
              <a:gd name="connsiteY1" fmla="*/ 0 h 3175000"/>
              <a:gd name="connsiteX2" fmla="*/ 0 w 1270000"/>
              <a:gd name="connsiteY2" fmla="*/ 3175000 h 3175000"/>
              <a:gd name="connsiteX3" fmla="*/ 1270000 w 1270000"/>
              <a:gd name="connsiteY3" fmla="*/ 317500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0000" h="3175000">
                <a:moveTo>
                  <a:pt x="1270000" y="0"/>
                </a:moveTo>
                <a:lnTo>
                  <a:pt x="0" y="0"/>
                </a:lnTo>
                <a:lnTo>
                  <a:pt x="0" y="3175000"/>
                </a:lnTo>
                <a:lnTo>
                  <a:pt x="1270000" y="3175000"/>
                </a:lnTo>
              </a:path>
            </a:pathLst>
          </a:custGeom>
          <a:ln w="19050">
            <a:solidFill>
              <a:srgbClr val="DA18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0000" tIns="90000" rIns="0" bIns="0" rtlCol="0" anchor="t"/>
          <a:lstStyle/>
          <a:p>
            <a:pPr fontAlgn="ctr"/>
            <a:endParaRPr lang="de-CH" sz="13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1" name="RbLeanShape Right U-Shape 13"/>
          <p:cNvSpPr/>
          <p:nvPr/>
        </p:nvSpPr>
        <p:spPr>
          <a:xfrm rot="16200000" flipV="1">
            <a:off x="9423385" y="3950015"/>
            <a:ext cx="331355" cy="4219536"/>
          </a:xfrm>
          <a:custGeom>
            <a:avLst/>
            <a:gdLst>
              <a:gd name="connsiteX0" fmla="*/ 1270000 w 1270000"/>
              <a:gd name="connsiteY0" fmla="*/ 0 h 3175000"/>
              <a:gd name="connsiteX1" fmla="*/ 0 w 1270000"/>
              <a:gd name="connsiteY1" fmla="*/ 0 h 3175000"/>
              <a:gd name="connsiteX2" fmla="*/ 0 w 1270000"/>
              <a:gd name="connsiteY2" fmla="*/ 3175000 h 3175000"/>
              <a:gd name="connsiteX3" fmla="*/ 1270000 w 1270000"/>
              <a:gd name="connsiteY3" fmla="*/ 317500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0000" h="3175000">
                <a:moveTo>
                  <a:pt x="1270000" y="0"/>
                </a:moveTo>
                <a:lnTo>
                  <a:pt x="0" y="0"/>
                </a:lnTo>
                <a:lnTo>
                  <a:pt x="0" y="3175000"/>
                </a:lnTo>
                <a:lnTo>
                  <a:pt x="1270000" y="3175000"/>
                </a:lnTo>
              </a:path>
            </a:pathLst>
          </a:custGeom>
          <a:ln w="19050">
            <a:solidFill>
              <a:srgbClr val="DA18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0000" tIns="90000" rIns="0" bIns="0" rtlCol="0" anchor="t"/>
          <a:lstStyle/>
          <a:p>
            <a:pPr fontAlgn="ctr"/>
            <a:endParaRPr lang="de-CH" sz="1300" b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9" name="Gruppieren 8"/>
          <p:cNvGrpSpPr/>
          <p:nvPr/>
        </p:nvGrpSpPr>
        <p:grpSpPr>
          <a:xfrm>
            <a:off x="9137544" y="1466493"/>
            <a:ext cx="854874" cy="854874"/>
            <a:chOff x="9913644" y="2470186"/>
            <a:chExt cx="854874" cy="854874"/>
          </a:xfrm>
        </p:grpSpPr>
        <p:sp>
          <p:nvSpPr>
            <p:cNvPr id="82" name="Textfeld 81"/>
            <p:cNvSpPr txBox="1"/>
            <p:nvPr/>
          </p:nvSpPr>
          <p:spPr>
            <a:xfrm>
              <a:off x="10003361" y="2799966"/>
              <a:ext cx="675441" cy="384405"/>
            </a:xfrm>
            <a:prstGeom prst="rect">
              <a:avLst/>
            </a:prstGeom>
            <a:noFill/>
          </p:spPr>
          <p:txBody>
            <a:bodyPr spcFirstLastPara="1" wrap="none" numCol="1" rtlCol="0">
              <a:prstTxWarp prst="textArchDown">
                <a:avLst/>
              </a:prstTxWarp>
              <a:spAutoFit/>
            </a:bodyPr>
            <a:lstStyle>
              <a:defPPr>
                <a:defRPr lang="de-DE"/>
              </a:defPPr>
              <a:lvl1pPr algn="ctr">
                <a:defRPr sz="1600" b="1">
                  <a:solidFill>
                    <a:srgbClr val="DA1838"/>
                  </a:solidFill>
                  <a:latin typeface="Calibri Light" panose="020F0302020204030204" pitchFamily="34" charset="0"/>
                </a:defRPr>
              </a:lvl1pPr>
            </a:lstStyle>
            <a:p>
              <a:r>
                <a:rPr lang="de-CH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FACTS</a:t>
              </a:r>
            </a:p>
          </p:txBody>
        </p:sp>
        <p:sp>
          <p:nvSpPr>
            <p:cNvPr id="83" name="Ellipse 82"/>
            <p:cNvSpPr/>
            <p:nvPr/>
          </p:nvSpPr>
          <p:spPr>
            <a:xfrm>
              <a:off x="9913644" y="2470186"/>
              <a:ext cx="854874" cy="854874"/>
            </a:xfrm>
            <a:prstGeom prst="ellipse">
              <a:avLst/>
            </a:prstGeom>
            <a:gradFill>
              <a:gsLst>
                <a:gs pos="100000">
                  <a:srgbClr val="F5A1AF"/>
                </a:gs>
                <a:gs pos="35000">
                  <a:srgbClr val="DA1838"/>
                </a:gs>
                <a:gs pos="1000">
                  <a:srgbClr val="A2122A"/>
                </a:gs>
                <a:gs pos="65000">
                  <a:srgbClr val="EC526C"/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27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  <p:sp>
          <p:nvSpPr>
            <p:cNvPr id="84" name="Textfeld 83"/>
            <p:cNvSpPr txBox="1"/>
            <p:nvPr/>
          </p:nvSpPr>
          <p:spPr>
            <a:xfrm>
              <a:off x="10003361" y="2724661"/>
              <a:ext cx="675441" cy="246424"/>
            </a:xfrm>
            <a:prstGeom prst="rect">
              <a:avLst/>
            </a:prstGeom>
            <a:noFill/>
          </p:spPr>
          <p:txBody>
            <a:bodyPr spcFirstLastPara="1" wrap="none" numCol="1" rtlCol="0">
              <a:spAutoFit/>
            </a:bodyPr>
            <a:lstStyle>
              <a:defPPr>
                <a:defRPr lang="de-DE"/>
              </a:defPPr>
              <a:lvl1pPr algn="ctr">
                <a:defRPr sz="1600" b="1">
                  <a:solidFill>
                    <a:srgbClr val="DA1838"/>
                  </a:solidFill>
                  <a:latin typeface="Calibri Light" panose="020F0302020204030204" pitchFamily="34" charset="0"/>
                </a:defRPr>
              </a:lvl1pPr>
            </a:lstStyle>
            <a:p>
              <a:r>
                <a:rPr lang="de-CH" dirty="0">
                  <a:solidFill>
                    <a:schemeClr val="bg1"/>
                  </a:solidFill>
                </a:rPr>
                <a:t>FACTS</a:t>
              </a:r>
            </a:p>
          </p:txBody>
        </p:sp>
      </p:grp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>
          <a:xfrm>
            <a:off x="3638550" y="6598493"/>
            <a:ext cx="4914900" cy="153888"/>
          </a:xfrm>
        </p:spPr>
        <p:txBody>
          <a:bodyPr/>
          <a:lstStyle/>
          <a:p>
            <a:r>
              <a:rPr lang="de-CH" dirty="0"/>
              <a:t>DIGIMIG - </a:t>
            </a:r>
            <a:r>
              <a:rPr lang="en-GB" dirty="0"/>
              <a:t>The research project on the digital migration of radio usage in Switzerland</a:t>
            </a:r>
            <a:endParaRPr lang="de-CH" dirty="0"/>
          </a:p>
        </p:txBody>
      </p:sp>
      <p:cxnSp>
        <p:nvCxnSpPr>
          <p:cNvPr id="86" name="Gerade Verbindung 85"/>
          <p:cNvCxnSpPr/>
          <p:nvPr/>
        </p:nvCxnSpPr>
        <p:spPr>
          <a:xfrm>
            <a:off x="371475" y="1270165"/>
            <a:ext cx="11353800" cy="0"/>
          </a:xfrm>
          <a:prstGeom prst="line">
            <a:avLst/>
          </a:prstGeom>
          <a:ln w="19050">
            <a:gradFill flip="none" rotWithShape="1">
              <a:gsLst>
                <a:gs pos="43000">
                  <a:srgbClr val="DA1838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/>
          <p:cNvSpPr/>
          <p:nvPr/>
        </p:nvSpPr>
        <p:spPr>
          <a:xfrm>
            <a:off x="10713130" y="6808"/>
            <a:ext cx="110036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CH" sz="1400" b="1" dirty="0">
                <a:solidFill>
                  <a:srgbClr val="DA1838"/>
                </a:solidFill>
              </a:rPr>
              <a:t>Reichweiten</a:t>
            </a: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17AF843C-B1CB-4B61-89F2-DABB7DB09EB6}"/>
              </a:ext>
            </a:extLst>
          </p:cNvPr>
          <p:cNvGrpSpPr/>
          <p:nvPr/>
        </p:nvGrpSpPr>
        <p:grpSpPr>
          <a:xfrm>
            <a:off x="3051291" y="2248215"/>
            <a:ext cx="862513" cy="522194"/>
            <a:chOff x="3190198" y="2402763"/>
            <a:chExt cx="862513" cy="522194"/>
          </a:xfrm>
        </p:grpSpPr>
        <p:sp>
          <p:nvSpPr>
            <p:cNvPr id="115" name="Textfeld 114"/>
            <p:cNvSpPr txBox="1"/>
            <p:nvPr/>
          </p:nvSpPr>
          <p:spPr>
            <a:xfrm>
              <a:off x="3190198" y="2402763"/>
              <a:ext cx="862513" cy="3730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1824" dirty="0">
                  <a:solidFill>
                    <a:schemeClr val="bg1">
                      <a:lumMod val="95000"/>
                    </a:schemeClr>
                  </a:solidFill>
                  <a:latin typeface="+mj-lt"/>
                  <a:cs typeface="Arial"/>
                  <a:sym typeface="Arial"/>
                </a:rPr>
                <a:t>10%</a:t>
              </a:r>
            </a:p>
          </p:txBody>
        </p:sp>
        <p:sp>
          <p:nvSpPr>
            <p:cNvPr id="14" name="Rechteck: abgerundete Ecken 13"/>
            <p:cNvSpPr/>
            <p:nvPr/>
          </p:nvSpPr>
          <p:spPr>
            <a:xfrm>
              <a:off x="3405454" y="2744957"/>
              <a:ext cx="432000" cy="1800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C00000"/>
              </a:solidFill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200" dirty="0">
                  <a:solidFill>
                    <a:srgbClr val="DA1838"/>
                  </a:solidFill>
                  <a:latin typeface="+mj-lt"/>
                </a:rPr>
                <a:t>-14</a:t>
              </a:r>
            </a:p>
          </p:txBody>
        </p:sp>
      </p:grp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673B5EC1-3884-47DF-B78B-79315A568259}"/>
              </a:ext>
            </a:extLst>
          </p:cNvPr>
          <p:cNvGrpSpPr/>
          <p:nvPr/>
        </p:nvGrpSpPr>
        <p:grpSpPr>
          <a:xfrm>
            <a:off x="1805895" y="4142433"/>
            <a:ext cx="862513" cy="475411"/>
            <a:chOff x="2053537" y="4336956"/>
            <a:chExt cx="862513" cy="475411"/>
          </a:xfrm>
        </p:grpSpPr>
        <p:sp>
          <p:nvSpPr>
            <p:cNvPr id="143" name="Textfeld 142"/>
            <p:cNvSpPr txBox="1"/>
            <p:nvPr/>
          </p:nvSpPr>
          <p:spPr>
            <a:xfrm>
              <a:off x="2053537" y="4336956"/>
              <a:ext cx="862513" cy="3730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1824" dirty="0">
                  <a:solidFill>
                    <a:schemeClr val="bg1">
                      <a:lumMod val="95000"/>
                    </a:schemeClr>
                  </a:solidFill>
                  <a:latin typeface="+mj-lt"/>
                  <a:cs typeface="Arial"/>
                  <a:sym typeface="Arial"/>
                </a:rPr>
                <a:t>14%</a:t>
              </a:r>
            </a:p>
          </p:txBody>
        </p:sp>
        <p:sp>
          <p:nvSpPr>
            <p:cNvPr id="149" name="Rechteck: abgerundete Ecken 148"/>
            <p:cNvSpPr/>
            <p:nvPr/>
          </p:nvSpPr>
          <p:spPr>
            <a:xfrm>
              <a:off x="2250793" y="4638875"/>
              <a:ext cx="464956" cy="173492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200" dirty="0">
                  <a:solidFill>
                    <a:schemeClr val="accent6"/>
                  </a:solidFill>
                  <a:latin typeface="+mj-lt"/>
                </a:rPr>
                <a:t>+9</a:t>
              </a:r>
            </a:p>
          </p:txBody>
        </p:sp>
      </p:grp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05F8CFBC-A343-4094-B6E8-0B88290C698D}"/>
              </a:ext>
            </a:extLst>
          </p:cNvPr>
          <p:cNvGrpSpPr/>
          <p:nvPr/>
        </p:nvGrpSpPr>
        <p:grpSpPr>
          <a:xfrm>
            <a:off x="4289082" y="4139902"/>
            <a:ext cx="862513" cy="486981"/>
            <a:chOff x="4288663" y="4336956"/>
            <a:chExt cx="862513" cy="486981"/>
          </a:xfrm>
        </p:grpSpPr>
        <p:sp>
          <p:nvSpPr>
            <p:cNvPr id="144" name="Textfeld 143"/>
            <p:cNvSpPr txBox="1"/>
            <p:nvPr/>
          </p:nvSpPr>
          <p:spPr>
            <a:xfrm>
              <a:off x="4288663" y="4336956"/>
              <a:ext cx="862513" cy="3730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1824" dirty="0">
                  <a:solidFill>
                    <a:schemeClr val="bg1">
                      <a:lumMod val="95000"/>
                    </a:schemeClr>
                  </a:solidFill>
                  <a:latin typeface="+mj-lt"/>
                  <a:cs typeface="Arial"/>
                  <a:sym typeface="Arial"/>
                </a:rPr>
                <a:t>12%</a:t>
              </a:r>
            </a:p>
          </p:txBody>
        </p:sp>
        <p:sp>
          <p:nvSpPr>
            <p:cNvPr id="150" name="Rechteck: abgerundete Ecken 149"/>
            <p:cNvSpPr/>
            <p:nvPr/>
          </p:nvSpPr>
          <p:spPr>
            <a:xfrm>
              <a:off x="4583461" y="4643937"/>
              <a:ext cx="432000" cy="1800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200" dirty="0">
                  <a:solidFill>
                    <a:schemeClr val="accent6"/>
                  </a:solidFill>
                  <a:latin typeface="+mj-lt"/>
                </a:rPr>
                <a:t>+7</a:t>
              </a:r>
            </a:p>
          </p:txBody>
        </p: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4E1A9C77-24E8-48E8-A389-FF6D6C6A8499}"/>
              </a:ext>
            </a:extLst>
          </p:cNvPr>
          <p:cNvGrpSpPr/>
          <p:nvPr/>
        </p:nvGrpSpPr>
        <p:grpSpPr>
          <a:xfrm>
            <a:off x="3709483" y="3160364"/>
            <a:ext cx="862513" cy="494067"/>
            <a:chOff x="3740221" y="3229127"/>
            <a:chExt cx="862513" cy="494067"/>
          </a:xfrm>
        </p:grpSpPr>
        <p:sp>
          <p:nvSpPr>
            <p:cNvPr id="147" name="Textfeld 146"/>
            <p:cNvSpPr txBox="1"/>
            <p:nvPr/>
          </p:nvSpPr>
          <p:spPr>
            <a:xfrm>
              <a:off x="3740221" y="3229127"/>
              <a:ext cx="862513" cy="3730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1824" dirty="0">
                  <a:solidFill>
                    <a:schemeClr val="bg1">
                      <a:lumMod val="95000"/>
                    </a:schemeClr>
                  </a:solidFill>
                  <a:latin typeface="+mj-lt"/>
                  <a:cs typeface="Arial"/>
                  <a:sym typeface="Arial"/>
                </a:rPr>
                <a:t>11%</a:t>
              </a:r>
            </a:p>
          </p:txBody>
        </p:sp>
        <p:sp>
          <p:nvSpPr>
            <p:cNvPr id="151" name="Rechteck: abgerundete Ecken 150"/>
            <p:cNvSpPr/>
            <p:nvPr/>
          </p:nvSpPr>
          <p:spPr>
            <a:xfrm>
              <a:off x="3943855" y="3543194"/>
              <a:ext cx="432000" cy="1800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C00000"/>
              </a:solidFill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200" dirty="0">
                  <a:solidFill>
                    <a:srgbClr val="DA1838"/>
                  </a:solidFill>
                  <a:latin typeface="+mj-lt"/>
                </a:rPr>
                <a:t>-13</a:t>
              </a:r>
            </a:p>
          </p:txBody>
        </p: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006D2A90-9F40-4A25-85A2-60C66BB711DA}"/>
              </a:ext>
            </a:extLst>
          </p:cNvPr>
          <p:cNvGrpSpPr/>
          <p:nvPr/>
        </p:nvGrpSpPr>
        <p:grpSpPr>
          <a:xfrm>
            <a:off x="3051291" y="3532740"/>
            <a:ext cx="862513" cy="491337"/>
            <a:chOff x="3151746" y="3582035"/>
            <a:chExt cx="862513" cy="491337"/>
          </a:xfrm>
        </p:grpSpPr>
        <p:sp>
          <p:nvSpPr>
            <p:cNvPr id="145" name="Textfeld 144"/>
            <p:cNvSpPr txBox="1"/>
            <p:nvPr/>
          </p:nvSpPr>
          <p:spPr>
            <a:xfrm>
              <a:off x="3151746" y="3582035"/>
              <a:ext cx="862513" cy="3730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1824" dirty="0">
                  <a:solidFill>
                    <a:schemeClr val="bg1">
                      <a:lumMod val="95000"/>
                    </a:schemeClr>
                  </a:solidFill>
                  <a:latin typeface="+mj-lt"/>
                  <a:cs typeface="Arial"/>
                  <a:sym typeface="Arial"/>
                </a:rPr>
                <a:t>11%</a:t>
              </a:r>
            </a:p>
          </p:txBody>
        </p:sp>
        <p:sp>
          <p:nvSpPr>
            <p:cNvPr id="152" name="Rechteck: abgerundete Ecken 151"/>
            <p:cNvSpPr/>
            <p:nvPr/>
          </p:nvSpPr>
          <p:spPr>
            <a:xfrm>
              <a:off x="3357543" y="3893372"/>
              <a:ext cx="432000" cy="1800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C00000"/>
              </a:solidFill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200" dirty="0">
                  <a:solidFill>
                    <a:srgbClr val="DA1838"/>
                  </a:solidFill>
                  <a:latin typeface="+mj-lt"/>
                </a:rPr>
                <a:t>-1</a:t>
              </a:r>
            </a:p>
          </p:txBody>
        </p: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80BB0291-0C01-4AEE-A3B6-5A18E3448151}"/>
              </a:ext>
            </a:extLst>
          </p:cNvPr>
          <p:cNvGrpSpPr/>
          <p:nvPr/>
        </p:nvGrpSpPr>
        <p:grpSpPr>
          <a:xfrm>
            <a:off x="2375529" y="3171800"/>
            <a:ext cx="862513" cy="471194"/>
            <a:chOff x="2604276" y="3266482"/>
            <a:chExt cx="862513" cy="471194"/>
          </a:xfrm>
        </p:grpSpPr>
        <p:sp>
          <p:nvSpPr>
            <p:cNvPr id="146" name="Textfeld 145"/>
            <p:cNvSpPr txBox="1"/>
            <p:nvPr/>
          </p:nvSpPr>
          <p:spPr>
            <a:xfrm>
              <a:off x="2604276" y="3266482"/>
              <a:ext cx="862513" cy="3730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1824" dirty="0">
                  <a:solidFill>
                    <a:schemeClr val="bg1">
                      <a:lumMod val="95000"/>
                    </a:schemeClr>
                  </a:solidFill>
                  <a:latin typeface="+mj-lt"/>
                  <a:cs typeface="Arial"/>
                  <a:sym typeface="Arial"/>
                </a:rPr>
                <a:t>9%</a:t>
              </a:r>
            </a:p>
          </p:txBody>
        </p:sp>
        <p:sp>
          <p:nvSpPr>
            <p:cNvPr id="153" name="Rechteck: abgerundete Ecken 152"/>
            <p:cNvSpPr/>
            <p:nvPr/>
          </p:nvSpPr>
          <p:spPr>
            <a:xfrm>
              <a:off x="2799260" y="3557676"/>
              <a:ext cx="432000" cy="1800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C00000"/>
              </a:solidFill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200" dirty="0">
                  <a:solidFill>
                    <a:srgbClr val="DA1838"/>
                  </a:solidFill>
                  <a:latin typeface="+mj-lt"/>
                </a:rPr>
                <a:t>-6</a:t>
              </a:r>
            </a:p>
          </p:txBody>
        </p: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5195E974-C0B4-4016-8D00-3C4F492DD68B}"/>
              </a:ext>
            </a:extLst>
          </p:cNvPr>
          <p:cNvGrpSpPr/>
          <p:nvPr/>
        </p:nvGrpSpPr>
        <p:grpSpPr>
          <a:xfrm>
            <a:off x="3051291" y="4290515"/>
            <a:ext cx="862513" cy="501710"/>
            <a:chOff x="3207293" y="4302830"/>
            <a:chExt cx="862513" cy="501710"/>
          </a:xfrm>
        </p:grpSpPr>
        <p:sp>
          <p:nvSpPr>
            <p:cNvPr id="148" name="Textfeld 147"/>
            <p:cNvSpPr txBox="1"/>
            <p:nvPr/>
          </p:nvSpPr>
          <p:spPr>
            <a:xfrm>
              <a:off x="3207293" y="4302830"/>
              <a:ext cx="862513" cy="3730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CH" sz="1824" dirty="0">
                  <a:solidFill>
                    <a:schemeClr val="bg1">
                      <a:lumMod val="95000"/>
                    </a:schemeClr>
                  </a:solidFill>
                  <a:latin typeface="+mj-lt"/>
                  <a:cs typeface="Arial"/>
                  <a:sym typeface="Arial"/>
                </a:rPr>
                <a:t>20%</a:t>
              </a:r>
            </a:p>
          </p:txBody>
        </p:sp>
        <p:sp>
          <p:nvSpPr>
            <p:cNvPr id="154" name="Rechteck: abgerundete Ecken 153"/>
            <p:cNvSpPr/>
            <p:nvPr/>
          </p:nvSpPr>
          <p:spPr>
            <a:xfrm>
              <a:off x="3404390" y="4624540"/>
              <a:ext cx="432000" cy="1800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/>
              <a:r>
                <a:rPr lang="de-CH" sz="1200" dirty="0">
                  <a:solidFill>
                    <a:schemeClr val="accent6"/>
                  </a:solidFill>
                  <a:latin typeface="+mj-lt"/>
                </a:rPr>
                <a:t>+14</a:t>
              </a:r>
            </a:p>
          </p:txBody>
        </p:sp>
      </p:grpSp>
      <p:cxnSp>
        <p:nvCxnSpPr>
          <p:cNvPr id="72" name="Gerader Verbinder 71">
            <a:extLst>
              <a:ext uri="{FF2B5EF4-FFF2-40B4-BE49-F238E27FC236}">
                <a16:creationId xmlns:a16="http://schemas.microsoft.com/office/drawing/2014/main" id="{F2E7E155-C91F-4820-A1A4-01E335555702}"/>
              </a:ext>
            </a:extLst>
          </p:cNvPr>
          <p:cNvCxnSpPr>
            <a:cxnSpLocks/>
            <a:stCxn id="66" idx="2"/>
            <a:endCxn id="160" idx="0"/>
          </p:cNvCxnSpPr>
          <p:nvPr/>
        </p:nvCxnSpPr>
        <p:spPr>
          <a:xfrm>
            <a:off x="6043298" y="2973039"/>
            <a:ext cx="4508" cy="1590557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BE31171E-6DC2-46AE-A77D-3C43AA0FE764}"/>
              </a:ext>
            </a:extLst>
          </p:cNvPr>
          <p:cNvGrpSpPr/>
          <p:nvPr/>
        </p:nvGrpSpPr>
        <p:grpSpPr>
          <a:xfrm>
            <a:off x="4936338" y="5458476"/>
            <a:ext cx="2010786" cy="844030"/>
            <a:chOff x="4936338" y="5412655"/>
            <a:chExt cx="2010786" cy="844030"/>
          </a:xfrm>
        </p:grpSpPr>
        <p:sp>
          <p:nvSpPr>
            <p:cNvPr id="132" name="Textfeld 131"/>
            <p:cNvSpPr txBox="1"/>
            <p:nvPr/>
          </p:nvSpPr>
          <p:spPr>
            <a:xfrm>
              <a:off x="4936338" y="5932685"/>
              <a:ext cx="1980000" cy="324000"/>
            </a:xfrm>
            <a:prstGeom prst="roundRect">
              <a:avLst>
                <a:gd name="adj" fmla="val 50000"/>
              </a:avLst>
            </a:prstGeom>
            <a:solidFill>
              <a:schemeClr val="bg2"/>
            </a:solidFill>
            <a:ln>
              <a:solidFill>
                <a:schemeClr val="accent3"/>
              </a:solidFill>
            </a:ln>
          </p:spPr>
          <p:txBody>
            <a:bodyPr wrap="none" rtlCol="0" anchor="ctr" anchorCtr="0">
              <a:noAutofit/>
            </a:bodyPr>
            <a:lstStyle/>
            <a:p>
              <a:pPr algn="ctr"/>
              <a:r>
                <a:rPr lang="de-CH" sz="1600" dirty="0">
                  <a:latin typeface="+mj-lt"/>
                  <a:cs typeface="Arial"/>
                  <a:sym typeface="Arial"/>
                </a:rPr>
                <a:t>Not </a:t>
              </a:r>
              <a:r>
                <a:rPr lang="de-CH" sz="1600" dirty="0" err="1">
                  <a:latin typeface="+mj-lt"/>
                  <a:cs typeface="Arial"/>
                  <a:sym typeface="Arial"/>
                </a:rPr>
                <a:t>classifiable</a:t>
              </a:r>
              <a:r>
                <a:rPr lang="de-CH" sz="1600" dirty="0">
                  <a:latin typeface="+mj-lt"/>
                  <a:cs typeface="Arial"/>
                  <a:sym typeface="Arial"/>
                </a:rPr>
                <a:t> : </a:t>
              </a:r>
              <a:r>
                <a:rPr lang="de-CH" sz="1600" dirty="0">
                  <a:latin typeface="+mj-lt"/>
                  <a:ea typeface="Cambria" panose="02040503050406030204" pitchFamily="18" charset="0"/>
                  <a:cs typeface="Arial"/>
                  <a:sym typeface="Arial"/>
                </a:rPr>
                <a:t>2%</a:t>
              </a:r>
            </a:p>
          </p:txBody>
        </p:sp>
        <p:sp>
          <p:nvSpPr>
            <p:cNvPr id="142" name="Textfeld 141"/>
            <p:cNvSpPr txBox="1"/>
            <p:nvPr/>
          </p:nvSpPr>
          <p:spPr>
            <a:xfrm>
              <a:off x="4937744" y="5412655"/>
              <a:ext cx="1980000" cy="324000"/>
            </a:xfrm>
            <a:prstGeom prst="roundRect">
              <a:avLst>
                <a:gd name="adj" fmla="val 50000"/>
              </a:avLst>
            </a:prstGeom>
            <a:solidFill>
              <a:schemeClr val="bg2"/>
            </a:solidFill>
            <a:ln>
              <a:solidFill>
                <a:schemeClr val="accent3"/>
              </a:solidFill>
            </a:ln>
          </p:spPr>
          <p:txBody>
            <a:bodyPr wrap="none" rtlCol="0" anchor="ctr" anchorCtr="0">
              <a:noAutofit/>
            </a:bodyPr>
            <a:lstStyle/>
            <a:p>
              <a:pPr algn="ctr"/>
              <a:r>
                <a:rPr lang="de-CH" sz="1600" dirty="0" err="1">
                  <a:latin typeface="+mj-lt"/>
                  <a:cs typeface="Arial"/>
                  <a:sym typeface="Arial"/>
                </a:rPr>
                <a:t>No</a:t>
              </a:r>
              <a:r>
                <a:rPr lang="de-CH" sz="1600" dirty="0">
                  <a:latin typeface="+mj-lt"/>
                  <a:cs typeface="Arial"/>
                  <a:sym typeface="Arial"/>
                </a:rPr>
                <a:t> Radio: </a:t>
              </a:r>
              <a:r>
                <a:rPr lang="de-CH" sz="1600" dirty="0">
                  <a:latin typeface="+mj-lt"/>
                  <a:ea typeface="Cambria" panose="02040503050406030204" pitchFamily="18" charset="0"/>
                  <a:cs typeface="Arial"/>
                  <a:sym typeface="Arial"/>
                </a:rPr>
                <a:t>12%</a:t>
              </a:r>
            </a:p>
          </p:txBody>
        </p:sp>
        <p:sp>
          <p:nvSpPr>
            <p:cNvPr id="156" name="Rechteck: abgerundete Ecken 155"/>
            <p:cNvSpPr/>
            <p:nvPr/>
          </p:nvSpPr>
          <p:spPr>
            <a:xfrm>
              <a:off x="6515124" y="5688682"/>
              <a:ext cx="432000" cy="1800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200" b="1" dirty="0">
                  <a:solidFill>
                    <a:schemeClr val="accent6"/>
                  </a:solidFill>
                  <a:latin typeface="+mj-lt"/>
                  <a:ea typeface="Cambria" panose="02040503050406030204" pitchFamily="18" charset="0"/>
                </a:rPr>
                <a:t>+6</a:t>
              </a:r>
            </a:p>
          </p:txBody>
        </p:sp>
      </p:grp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8682B106-C3A8-4DF3-8B8C-1D7F6280DE69}"/>
              </a:ext>
            </a:extLst>
          </p:cNvPr>
          <p:cNvGrpSpPr/>
          <p:nvPr/>
        </p:nvGrpSpPr>
        <p:grpSpPr>
          <a:xfrm>
            <a:off x="1244116" y="1974133"/>
            <a:ext cx="918706" cy="770332"/>
            <a:chOff x="1066140" y="2127467"/>
            <a:chExt cx="918706" cy="770332"/>
          </a:xfrm>
        </p:grpSpPr>
        <p:sp>
          <p:nvSpPr>
            <p:cNvPr id="123" name="Textfeld 122"/>
            <p:cNvSpPr txBox="1"/>
            <p:nvPr/>
          </p:nvSpPr>
          <p:spPr>
            <a:xfrm>
              <a:off x="1066140" y="2127467"/>
              <a:ext cx="918706" cy="5909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de-CH" b="1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FM</a:t>
              </a:r>
            </a:p>
            <a:p>
              <a:pPr algn="ctr">
                <a:lnSpc>
                  <a:spcPct val="90000"/>
                </a:lnSpc>
              </a:pPr>
              <a:r>
                <a:rPr lang="el-GR" b="1" dirty="0">
                  <a:solidFill>
                    <a:schemeClr val="bg1">
                      <a:lumMod val="65000"/>
                    </a:schemeClr>
                  </a:solidFill>
                  <a:latin typeface="+mj-lt"/>
                  <a:cs typeface="Arial"/>
                  <a:sym typeface="Arial"/>
                </a:rPr>
                <a:t>Σ</a:t>
              </a:r>
              <a:r>
                <a:rPr lang="de-CH" b="1" dirty="0">
                  <a:solidFill>
                    <a:schemeClr val="bg1">
                      <a:lumMod val="65000"/>
                    </a:schemeClr>
                  </a:solidFill>
                  <a:latin typeface="+mj-lt"/>
                  <a:cs typeface="Arial"/>
                  <a:sym typeface="Arial"/>
                </a:rPr>
                <a:t>= 41%</a:t>
              </a:r>
            </a:p>
          </p:txBody>
        </p:sp>
        <p:sp>
          <p:nvSpPr>
            <p:cNvPr id="158" name="Rechteck: abgerundete Ecken 157"/>
            <p:cNvSpPr/>
            <p:nvPr/>
          </p:nvSpPr>
          <p:spPr>
            <a:xfrm>
              <a:off x="1256528" y="2681799"/>
              <a:ext cx="540000" cy="216000"/>
            </a:xfrm>
            <a:prstGeom prst="roundRect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6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</a:rPr>
                <a:t>-34</a:t>
              </a:r>
            </a:p>
          </p:txBody>
        </p:sp>
      </p:grp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D1AD0899-DD16-4BD1-9B08-45D4B31677A9}"/>
              </a:ext>
            </a:extLst>
          </p:cNvPr>
          <p:cNvGrpSpPr/>
          <p:nvPr/>
        </p:nvGrpSpPr>
        <p:grpSpPr>
          <a:xfrm>
            <a:off x="5585718" y="3884716"/>
            <a:ext cx="924176" cy="894880"/>
            <a:chOff x="5699202" y="3887243"/>
            <a:chExt cx="924176" cy="894880"/>
          </a:xfrm>
        </p:grpSpPr>
        <p:sp>
          <p:nvSpPr>
            <p:cNvPr id="141" name="Textfeld 140"/>
            <p:cNvSpPr txBox="1"/>
            <p:nvPr/>
          </p:nvSpPr>
          <p:spPr>
            <a:xfrm>
              <a:off x="5699202" y="3887243"/>
              <a:ext cx="924176" cy="59093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de-CH" b="1" dirty="0">
                  <a:latin typeface="+mj-lt"/>
                </a:rPr>
                <a:t>IP/TV</a:t>
              </a:r>
            </a:p>
            <a:p>
              <a:pPr algn="ctr">
                <a:lnSpc>
                  <a:spcPct val="90000"/>
                </a:lnSpc>
              </a:pPr>
              <a:r>
                <a:rPr lang="el-GR" b="1" dirty="0">
                  <a:latin typeface="+mj-lt"/>
                  <a:cs typeface="Arial"/>
                  <a:sym typeface="Arial"/>
                </a:rPr>
                <a:t>Σ</a:t>
              </a:r>
              <a:r>
                <a:rPr lang="de-CH" b="1" dirty="0">
                  <a:latin typeface="+mj-lt"/>
                  <a:cs typeface="Arial"/>
                  <a:sym typeface="Arial"/>
                </a:rPr>
                <a:t>= 54%</a:t>
              </a:r>
            </a:p>
          </p:txBody>
        </p:sp>
        <p:sp>
          <p:nvSpPr>
            <p:cNvPr id="160" name="Rechteck: abgerundete Ecken 159"/>
            <p:cNvSpPr/>
            <p:nvPr/>
          </p:nvSpPr>
          <p:spPr>
            <a:xfrm>
              <a:off x="5891290" y="4566123"/>
              <a:ext cx="540000" cy="216000"/>
            </a:xfrm>
            <a:prstGeom prst="roundRect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600" dirty="0">
                  <a:ln w="0"/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</a:rPr>
                <a:t>+7</a:t>
              </a:r>
            </a:p>
          </p:txBody>
        </p:sp>
      </p:grpSp>
      <p:sp>
        <p:nvSpPr>
          <p:cNvPr id="46" name="Ellipse 45">
            <a:extLst>
              <a:ext uri="{FF2B5EF4-FFF2-40B4-BE49-F238E27FC236}">
                <a16:creationId xmlns:a16="http://schemas.microsoft.com/office/drawing/2014/main" id="{54D03496-8BD4-4051-B235-308172486CBB}"/>
              </a:ext>
            </a:extLst>
          </p:cNvPr>
          <p:cNvSpPr/>
          <p:nvPr/>
        </p:nvSpPr>
        <p:spPr>
          <a:xfrm>
            <a:off x="10890812" y="282575"/>
            <a:ext cx="720000" cy="720000"/>
          </a:xfrm>
          <a:prstGeom prst="ellipse">
            <a:avLst/>
          </a:prstGeom>
          <a:gradFill>
            <a:gsLst>
              <a:gs pos="100000">
                <a:srgbClr val="F5A1AF"/>
              </a:gs>
              <a:gs pos="35000">
                <a:srgbClr val="DA1838"/>
              </a:gs>
              <a:gs pos="1000">
                <a:srgbClr val="A2122A"/>
              </a:gs>
              <a:gs pos="65000">
                <a:srgbClr val="EC526C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3289" y="383024"/>
            <a:ext cx="926626" cy="537940"/>
          </a:xfrm>
          <a:prstGeom prst="rect">
            <a:avLst/>
          </a:prstGeom>
        </p:spPr>
      </p:pic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54C3DC60-9F45-456E-822C-BC2FB89FAB01}"/>
              </a:ext>
            </a:extLst>
          </p:cNvPr>
          <p:cNvGrpSpPr/>
          <p:nvPr/>
        </p:nvGrpSpPr>
        <p:grpSpPr>
          <a:xfrm>
            <a:off x="375577" y="3776024"/>
            <a:ext cx="918706" cy="974328"/>
            <a:chOff x="489061" y="3778551"/>
            <a:chExt cx="918706" cy="974328"/>
          </a:xfrm>
        </p:grpSpPr>
        <p:sp>
          <p:nvSpPr>
            <p:cNvPr id="140" name="Textfeld 139"/>
            <p:cNvSpPr txBox="1"/>
            <p:nvPr/>
          </p:nvSpPr>
          <p:spPr>
            <a:xfrm>
              <a:off x="489061" y="4206636"/>
              <a:ext cx="91870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l-GR" b="1" dirty="0">
                  <a:solidFill>
                    <a:srgbClr val="E93B58"/>
                  </a:solidFill>
                  <a:latin typeface="+mj-lt"/>
                  <a:cs typeface="Arial"/>
                  <a:sym typeface="Arial"/>
                </a:rPr>
                <a:t>Σ</a:t>
              </a:r>
              <a:r>
                <a:rPr lang="de-CH" b="1" dirty="0">
                  <a:solidFill>
                    <a:srgbClr val="E93B58"/>
                  </a:solidFill>
                  <a:latin typeface="+mj-lt"/>
                  <a:cs typeface="Arial"/>
                  <a:sym typeface="Arial"/>
                </a:rPr>
                <a:t>= 54%</a:t>
              </a:r>
            </a:p>
          </p:txBody>
        </p:sp>
        <p:sp>
          <p:nvSpPr>
            <p:cNvPr id="159" name="Rechteck: abgerundete Ecken 158"/>
            <p:cNvSpPr/>
            <p:nvPr/>
          </p:nvSpPr>
          <p:spPr>
            <a:xfrm>
              <a:off x="680857" y="4536879"/>
              <a:ext cx="540000" cy="216000"/>
            </a:xfrm>
            <a:prstGeom prst="roundRect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600" dirty="0">
                  <a:ln w="0"/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+16</a:t>
              </a:r>
            </a:p>
          </p:txBody>
        </p:sp>
        <p:pic>
          <p:nvPicPr>
            <p:cNvPr id="48" name="Grafik 47">
              <a:extLst>
                <a:ext uri="{FF2B5EF4-FFF2-40B4-BE49-F238E27FC236}">
                  <a16:creationId xmlns:a16="http://schemas.microsoft.com/office/drawing/2014/main" id="{F3BF16B8-5E17-416F-A44F-55D5211ADBC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duotone>
                <a:prstClr val="black"/>
                <a:srgbClr val="F22E4A">
                  <a:tint val="45000"/>
                  <a:satMod val="400000"/>
                </a:srgbClr>
              </a:duotone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artisticMarker/>
                      </a14:imgEffect>
                      <a14:imgEffect>
                        <a14:sharpenSoften amount="-1000"/>
                      </a14:imgEffect>
                      <a14:imgEffect>
                        <a14:colorTemperature colorTemp="1500"/>
                      </a14:imgEffect>
                      <a14:imgEffect>
                        <a14:saturation sat="250000"/>
                      </a14:imgEffect>
                      <a14:imgEffect>
                        <a14:brightnessContrast bright="58000" contrast="-1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8009" y="3778551"/>
              <a:ext cx="765696" cy="449846"/>
            </a:xfrm>
            <a:prstGeom prst="rect">
              <a:avLst/>
            </a:prstGeom>
          </p:spPr>
        </p:pic>
      </p:grp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7EDCE035-FAF1-4A1F-9BBB-6A36AFA3A7BA}"/>
              </a:ext>
            </a:extLst>
          </p:cNvPr>
          <p:cNvGrpSpPr/>
          <p:nvPr/>
        </p:nvGrpSpPr>
        <p:grpSpPr>
          <a:xfrm>
            <a:off x="2645930" y="5373216"/>
            <a:ext cx="1654316" cy="998084"/>
            <a:chOff x="5926358" y="5155018"/>
            <a:chExt cx="1654316" cy="998084"/>
          </a:xfrm>
        </p:grpSpPr>
        <p:sp>
          <p:nvSpPr>
            <p:cNvPr id="77" name="Textfeld 76">
              <a:extLst>
                <a:ext uri="{FF2B5EF4-FFF2-40B4-BE49-F238E27FC236}">
                  <a16:creationId xmlns:a16="http://schemas.microsoft.com/office/drawing/2014/main" id="{BE8B6EDB-53B7-4229-8285-6584A885AAA3}"/>
                </a:ext>
              </a:extLst>
            </p:cNvPr>
            <p:cNvSpPr txBox="1"/>
            <p:nvPr/>
          </p:nvSpPr>
          <p:spPr>
            <a:xfrm>
              <a:off x="5926358" y="5155018"/>
              <a:ext cx="1654316" cy="8402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de-CH" b="1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digital Radio </a:t>
              </a:r>
              <a:r>
                <a:rPr lang="de-CH" sz="1600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  <a:t>(IP/TV/DAB+)</a:t>
              </a:r>
              <a:br>
                <a:rPr lang="de-CH" sz="1600" dirty="0">
                  <a:solidFill>
                    <a:schemeClr val="bg1">
                      <a:lumMod val="65000"/>
                    </a:schemeClr>
                  </a:solidFill>
                  <a:latin typeface="+mj-lt"/>
                </a:rPr>
              </a:br>
              <a:r>
                <a:rPr lang="el-GR" dirty="0">
                  <a:solidFill>
                    <a:schemeClr val="bg1">
                      <a:lumMod val="65000"/>
                    </a:schemeClr>
                  </a:solidFill>
                  <a:latin typeface="+mj-lt"/>
                  <a:sym typeface="Arial"/>
                </a:rPr>
                <a:t>Σ</a:t>
              </a:r>
              <a:r>
                <a:rPr lang="de-CH" dirty="0">
                  <a:solidFill>
                    <a:schemeClr val="bg1">
                      <a:lumMod val="65000"/>
                    </a:schemeClr>
                  </a:solidFill>
                  <a:latin typeface="+mj-lt"/>
                  <a:sym typeface="Arial"/>
                </a:rPr>
                <a:t>= 77%</a:t>
              </a:r>
            </a:p>
          </p:txBody>
        </p:sp>
        <p:sp>
          <p:nvSpPr>
            <p:cNvPr id="79" name="Rechteck: abgerundete Ecken 78">
              <a:extLst>
                <a:ext uri="{FF2B5EF4-FFF2-40B4-BE49-F238E27FC236}">
                  <a16:creationId xmlns:a16="http://schemas.microsoft.com/office/drawing/2014/main" id="{A5CFBB4C-B96B-4683-B789-F9C65D6DE463}"/>
                </a:ext>
              </a:extLst>
            </p:cNvPr>
            <p:cNvSpPr/>
            <p:nvPr/>
          </p:nvSpPr>
          <p:spPr>
            <a:xfrm>
              <a:off x="6463626" y="5937102"/>
              <a:ext cx="540000" cy="216000"/>
            </a:xfrm>
            <a:prstGeom prst="roundRect">
              <a:avLst/>
            </a:prstGeom>
            <a:solidFill>
              <a:schemeClr val="accent6"/>
            </a:solidFill>
            <a:ln>
              <a:solidFill>
                <a:schemeClr val="accent6"/>
              </a:solidFill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CH" sz="1600" dirty="0">
                  <a:ln w="0"/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+10</a:t>
              </a:r>
            </a:p>
          </p:txBody>
        </p:sp>
      </p:grpSp>
      <p:sp>
        <p:nvSpPr>
          <p:cNvPr id="66" name="Rechteck: abgerundete Ecken 65">
            <a:extLst>
              <a:ext uri="{FF2B5EF4-FFF2-40B4-BE49-F238E27FC236}">
                <a16:creationId xmlns:a16="http://schemas.microsoft.com/office/drawing/2014/main" id="{08CC930D-49FB-4BAD-9058-C60941F63AEC}"/>
              </a:ext>
            </a:extLst>
          </p:cNvPr>
          <p:cNvSpPr/>
          <p:nvPr/>
        </p:nvSpPr>
        <p:spPr>
          <a:xfrm>
            <a:off x="5049159" y="2476492"/>
            <a:ext cx="1988278" cy="496547"/>
          </a:xfrm>
          <a:prstGeom prst="round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CH" sz="1200" dirty="0" err="1">
                <a:solidFill>
                  <a:schemeClr val="bg1">
                    <a:lumMod val="65000"/>
                  </a:schemeClr>
                </a:solidFill>
                <a:latin typeface="+mj-lt"/>
              </a:rPr>
              <a:t>change</a:t>
            </a:r>
            <a:r>
              <a:rPr lang="de-CH" sz="12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 </a:t>
            </a:r>
            <a:r>
              <a:rPr lang="de-CH" sz="1200" dirty="0" err="1">
                <a:solidFill>
                  <a:schemeClr val="bg1">
                    <a:lumMod val="65000"/>
                  </a:schemeClr>
                </a:solidFill>
                <a:latin typeface="+mj-lt"/>
              </a:rPr>
              <a:t>compared</a:t>
            </a:r>
            <a:r>
              <a:rPr lang="de-CH" sz="12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 </a:t>
            </a:r>
            <a:r>
              <a:rPr lang="de-CH" sz="1200" dirty="0" err="1">
                <a:solidFill>
                  <a:schemeClr val="bg1">
                    <a:lumMod val="65000"/>
                  </a:schemeClr>
                </a:solidFill>
                <a:latin typeface="+mj-lt"/>
              </a:rPr>
              <a:t>to</a:t>
            </a:r>
            <a:r>
              <a:rPr lang="de-CH" sz="12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 2015/2 in </a:t>
            </a:r>
            <a:r>
              <a:rPr lang="de-CH" sz="1200" dirty="0" err="1">
                <a:solidFill>
                  <a:schemeClr val="bg1">
                    <a:lumMod val="65000"/>
                  </a:schemeClr>
                </a:solidFill>
                <a:latin typeface="+mj-lt"/>
              </a:rPr>
              <a:t>percentage</a:t>
            </a:r>
            <a:r>
              <a:rPr lang="de-CH" sz="12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 </a:t>
            </a:r>
            <a:r>
              <a:rPr lang="de-CH" sz="1200" dirty="0" err="1">
                <a:solidFill>
                  <a:schemeClr val="bg1">
                    <a:lumMod val="65000"/>
                  </a:schemeClr>
                </a:solidFill>
                <a:latin typeface="+mj-lt"/>
              </a:rPr>
              <a:t>points</a:t>
            </a:r>
            <a:endParaRPr lang="de-CH" sz="1200" dirty="0">
              <a:solidFill>
                <a:schemeClr val="bg1">
                  <a:lumMod val="65000"/>
                </a:schemeClr>
              </a:solidFill>
              <a:latin typeface="+mj-lt"/>
            </a:endParaRP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0588CB3B-0ECB-49F7-9989-A92B017F4DD8}"/>
              </a:ext>
            </a:extLst>
          </p:cNvPr>
          <p:cNvCxnSpPr>
            <a:stCxn id="66" idx="1"/>
            <a:endCxn id="14" idx="3"/>
          </p:cNvCxnSpPr>
          <p:nvPr/>
        </p:nvCxnSpPr>
        <p:spPr>
          <a:xfrm flipH="1" flipV="1">
            <a:off x="3698547" y="2680409"/>
            <a:ext cx="1350612" cy="44357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>
            <a:extLst>
              <a:ext uri="{FF2B5EF4-FFF2-40B4-BE49-F238E27FC236}">
                <a16:creationId xmlns:a16="http://schemas.microsoft.com/office/drawing/2014/main" id="{F7013F8B-D441-460A-BE58-31EF7E61CA7E}"/>
              </a:ext>
            </a:extLst>
          </p:cNvPr>
          <p:cNvCxnSpPr>
            <a:cxnSpLocks/>
            <a:stCxn id="66" idx="1"/>
            <a:endCxn id="151" idx="3"/>
          </p:cNvCxnSpPr>
          <p:nvPr/>
        </p:nvCxnSpPr>
        <p:spPr>
          <a:xfrm flipH="1">
            <a:off x="4345117" y="2724766"/>
            <a:ext cx="704042" cy="839665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feld 68">
            <a:extLst>
              <a:ext uri="{FF2B5EF4-FFF2-40B4-BE49-F238E27FC236}">
                <a16:creationId xmlns:a16="http://schemas.microsoft.com/office/drawing/2014/main" id="{9971F6A4-D600-4A00-950F-1122D79FF83D}"/>
              </a:ext>
            </a:extLst>
          </p:cNvPr>
          <p:cNvSpPr txBox="1"/>
          <p:nvPr/>
        </p:nvSpPr>
        <p:spPr>
          <a:xfrm>
            <a:off x="371475" y="6484226"/>
            <a:ext cx="795023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ource: GfK Switzerland, </a:t>
            </a:r>
            <a:r>
              <a:rPr lang="de-CH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DigiMig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urvey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, n(2015/2)=2’453, n(2023/2)=2’725)</a:t>
            </a:r>
          </a:p>
        </p:txBody>
      </p:sp>
      <p:sp>
        <p:nvSpPr>
          <p:cNvPr id="70" name="Textfeld 69">
            <a:extLst>
              <a:ext uri="{FF2B5EF4-FFF2-40B4-BE49-F238E27FC236}">
                <a16:creationId xmlns:a16="http://schemas.microsoft.com/office/drawing/2014/main" id="{95C2E09D-39DD-49AC-95DD-76FCAD0F9E47}"/>
              </a:ext>
            </a:extLst>
          </p:cNvPr>
          <p:cNvSpPr txBox="1"/>
          <p:nvPr/>
        </p:nvSpPr>
        <p:spPr>
          <a:xfrm>
            <a:off x="3231468" y="2097862"/>
            <a:ext cx="468000" cy="226591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algn="ctr"/>
            <a:r>
              <a:rPr lang="de-CH" sz="1000" dirty="0">
                <a:solidFill>
                  <a:schemeClr val="accent4">
                    <a:lumMod val="75000"/>
                  </a:schemeClr>
                </a:solidFill>
              </a:rPr>
              <a:t>± 1.1</a:t>
            </a:r>
          </a:p>
        </p:txBody>
      </p:sp>
      <p:sp>
        <p:nvSpPr>
          <p:cNvPr id="71" name="Textfeld 70">
            <a:extLst>
              <a:ext uri="{FF2B5EF4-FFF2-40B4-BE49-F238E27FC236}">
                <a16:creationId xmlns:a16="http://schemas.microsoft.com/office/drawing/2014/main" id="{8C83B916-A4E3-4486-976A-B8CED1F0CAD0}"/>
              </a:ext>
            </a:extLst>
          </p:cNvPr>
          <p:cNvSpPr txBox="1"/>
          <p:nvPr/>
        </p:nvSpPr>
        <p:spPr>
          <a:xfrm>
            <a:off x="2551215" y="3034559"/>
            <a:ext cx="468000" cy="226591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algn="ctr"/>
            <a:r>
              <a:rPr lang="de-CH" sz="1000" dirty="0">
                <a:solidFill>
                  <a:schemeClr val="accent4"/>
                </a:solidFill>
              </a:rPr>
              <a:t>± 1.1</a:t>
            </a: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81FD904E-6DC5-4D8C-A7CF-F1AD219D604E}"/>
              </a:ext>
            </a:extLst>
          </p:cNvPr>
          <p:cNvSpPr txBox="1"/>
          <p:nvPr/>
        </p:nvSpPr>
        <p:spPr>
          <a:xfrm>
            <a:off x="2003151" y="3987010"/>
            <a:ext cx="468000" cy="226591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algn="ctr"/>
            <a:r>
              <a:rPr lang="de-CH" sz="1000" dirty="0">
                <a:solidFill>
                  <a:schemeClr val="accent4"/>
                </a:solidFill>
              </a:rPr>
              <a:t>± 1.3</a:t>
            </a:r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F8C91C71-D088-4C5A-A69F-1DA91E9C2CF9}"/>
              </a:ext>
            </a:extLst>
          </p:cNvPr>
          <p:cNvSpPr txBox="1"/>
          <p:nvPr/>
        </p:nvSpPr>
        <p:spPr>
          <a:xfrm>
            <a:off x="4468338" y="4000496"/>
            <a:ext cx="468000" cy="226591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algn="ctr"/>
            <a:r>
              <a:rPr lang="de-CH" sz="1000" dirty="0">
                <a:solidFill>
                  <a:schemeClr val="accent4"/>
                </a:solidFill>
              </a:rPr>
              <a:t>± 1.2</a:t>
            </a: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7E637F84-30E5-413F-AA5B-C4E49F5EE6A0}"/>
              </a:ext>
            </a:extLst>
          </p:cNvPr>
          <p:cNvSpPr txBox="1"/>
          <p:nvPr/>
        </p:nvSpPr>
        <p:spPr>
          <a:xfrm>
            <a:off x="3885999" y="3029366"/>
            <a:ext cx="468000" cy="226591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algn="ctr"/>
            <a:r>
              <a:rPr lang="de-CH" sz="1000" dirty="0">
                <a:solidFill>
                  <a:schemeClr val="accent4"/>
                </a:solidFill>
              </a:rPr>
              <a:t>± 1.2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C73A0BD7-870C-49B7-BD2E-A58323DA62BB}"/>
              </a:ext>
            </a:extLst>
          </p:cNvPr>
          <p:cNvSpPr txBox="1"/>
          <p:nvPr/>
        </p:nvSpPr>
        <p:spPr>
          <a:xfrm>
            <a:off x="1474396" y="2728345"/>
            <a:ext cx="468000" cy="226591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algn="ctr"/>
            <a:r>
              <a:rPr lang="de-CH" sz="1000" dirty="0">
                <a:solidFill>
                  <a:schemeClr val="accent4"/>
                </a:solidFill>
              </a:rPr>
              <a:t>± 1.8</a:t>
            </a:r>
          </a:p>
        </p:txBody>
      </p:sp>
      <p:sp>
        <p:nvSpPr>
          <p:cNvPr id="78" name="Textfeld 77">
            <a:extLst>
              <a:ext uri="{FF2B5EF4-FFF2-40B4-BE49-F238E27FC236}">
                <a16:creationId xmlns:a16="http://schemas.microsoft.com/office/drawing/2014/main" id="{BC75CE1E-4AE4-431C-B8D5-C6E7B3B6D69D}"/>
              </a:ext>
            </a:extLst>
          </p:cNvPr>
          <p:cNvSpPr txBox="1"/>
          <p:nvPr/>
        </p:nvSpPr>
        <p:spPr>
          <a:xfrm>
            <a:off x="585914" y="4734150"/>
            <a:ext cx="468000" cy="226591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algn="ctr"/>
            <a:r>
              <a:rPr lang="de-CH" sz="1000" dirty="0">
                <a:solidFill>
                  <a:schemeClr val="accent4"/>
                </a:solidFill>
              </a:rPr>
              <a:t>± 1.8</a:t>
            </a:r>
          </a:p>
        </p:txBody>
      </p:sp>
      <p:sp>
        <p:nvSpPr>
          <p:cNvPr id="85" name="Textfeld 84">
            <a:extLst>
              <a:ext uri="{FF2B5EF4-FFF2-40B4-BE49-F238E27FC236}">
                <a16:creationId xmlns:a16="http://schemas.microsoft.com/office/drawing/2014/main" id="{E00A5627-A319-4C15-92E2-78B4220FCFFE}"/>
              </a:ext>
            </a:extLst>
          </p:cNvPr>
          <p:cNvSpPr txBox="1"/>
          <p:nvPr/>
        </p:nvSpPr>
        <p:spPr>
          <a:xfrm>
            <a:off x="3692522" y="5880450"/>
            <a:ext cx="631399" cy="226591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algn="ctr"/>
            <a:r>
              <a:rPr lang="de-CH" sz="1000" dirty="0">
                <a:solidFill>
                  <a:schemeClr val="accent4"/>
                </a:solidFill>
              </a:rPr>
              <a:t>± 1.6</a:t>
            </a:r>
          </a:p>
        </p:txBody>
      </p:sp>
      <p:sp>
        <p:nvSpPr>
          <p:cNvPr id="87" name="Textfeld 86">
            <a:extLst>
              <a:ext uri="{FF2B5EF4-FFF2-40B4-BE49-F238E27FC236}">
                <a16:creationId xmlns:a16="http://schemas.microsoft.com/office/drawing/2014/main" id="{A2CF5D98-709F-4DBB-ABE1-02943824AF54}"/>
              </a:ext>
            </a:extLst>
          </p:cNvPr>
          <p:cNvSpPr txBox="1"/>
          <p:nvPr/>
        </p:nvSpPr>
        <p:spPr>
          <a:xfrm>
            <a:off x="5711018" y="4775719"/>
            <a:ext cx="631399" cy="226591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algn="ctr"/>
            <a:r>
              <a:rPr lang="de-CH" sz="1000" dirty="0">
                <a:solidFill>
                  <a:schemeClr val="accent4"/>
                </a:solidFill>
              </a:rPr>
              <a:t>± 1.9</a:t>
            </a:r>
          </a:p>
        </p:txBody>
      </p:sp>
      <p:sp>
        <p:nvSpPr>
          <p:cNvPr id="88" name="Textfeld 87">
            <a:extLst>
              <a:ext uri="{FF2B5EF4-FFF2-40B4-BE49-F238E27FC236}">
                <a16:creationId xmlns:a16="http://schemas.microsoft.com/office/drawing/2014/main" id="{451A5B12-3DD9-4A9D-80F1-EE005790DFEE}"/>
              </a:ext>
            </a:extLst>
          </p:cNvPr>
          <p:cNvSpPr txBox="1"/>
          <p:nvPr/>
        </p:nvSpPr>
        <p:spPr>
          <a:xfrm>
            <a:off x="6011804" y="5727694"/>
            <a:ext cx="631399" cy="226591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algn="ctr"/>
            <a:r>
              <a:rPr lang="de-CH" sz="1000" dirty="0">
                <a:solidFill>
                  <a:schemeClr val="accent4"/>
                </a:solidFill>
              </a:rPr>
              <a:t>± 1.2</a:t>
            </a:r>
          </a:p>
        </p:txBody>
      </p:sp>
      <p:sp>
        <p:nvSpPr>
          <p:cNvPr id="89" name="Textfeld 88">
            <a:extLst>
              <a:ext uri="{FF2B5EF4-FFF2-40B4-BE49-F238E27FC236}">
                <a16:creationId xmlns:a16="http://schemas.microsoft.com/office/drawing/2014/main" id="{4E16DD67-E8AC-4FFC-B7CF-5C48A3337AD9}"/>
              </a:ext>
            </a:extLst>
          </p:cNvPr>
          <p:cNvSpPr txBox="1"/>
          <p:nvPr/>
        </p:nvSpPr>
        <p:spPr>
          <a:xfrm>
            <a:off x="6011804" y="6253080"/>
            <a:ext cx="631399" cy="226591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algn="ctr"/>
            <a:r>
              <a:rPr lang="de-CH" sz="1000" dirty="0">
                <a:solidFill>
                  <a:schemeClr val="accent4"/>
                </a:solidFill>
              </a:rPr>
              <a:t>± 0.5</a:t>
            </a:r>
          </a:p>
        </p:txBody>
      </p:sp>
      <p:sp>
        <p:nvSpPr>
          <p:cNvPr id="92" name="Textfeld 91">
            <a:extLst>
              <a:ext uri="{FF2B5EF4-FFF2-40B4-BE49-F238E27FC236}">
                <a16:creationId xmlns:a16="http://schemas.microsoft.com/office/drawing/2014/main" id="{A9381333-A130-418D-AA0B-57738EE84A76}"/>
              </a:ext>
            </a:extLst>
          </p:cNvPr>
          <p:cNvSpPr txBox="1"/>
          <p:nvPr/>
        </p:nvSpPr>
        <p:spPr>
          <a:xfrm>
            <a:off x="3215880" y="4168722"/>
            <a:ext cx="468000" cy="226591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algn="ctr"/>
            <a:r>
              <a:rPr lang="de-CH" sz="1000" dirty="0">
                <a:solidFill>
                  <a:schemeClr val="accent4"/>
                </a:solidFill>
              </a:rPr>
              <a:t>± 1.5</a:t>
            </a:r>
          </a:p>
        </p:txBody>
      </p:sp>
      <p:sp>
        <p:nvSpPr>
          <p:cNvPr id="93" name="Textfeld 92">
            <a:extLst>
              <a:ext uri="{FF2B5EF4-FFF2-40B4-BE49-F238E27FC236}">
                <a16:creationId xmlns:a16="http://schemas.microsoft.com/office/drawing/2014/main" id="{04CCA492-93D8-4C1B-88CB-682112F0A4B9}"/>
              </a:ext>
            </a:extLst>
          </p:cNvPr>
          <p:cNvSpPr txBox="1"/>
          <p:nvPr/>
        </p:nvSpPr>
        <p:spPr>
          <a:xfrm>
            <a:off x="3243450" y="3393121"/>
            <a:ext cx="468000" cy="226591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algn="ctr"/>
            <a:r>
              <a:rPr lang="de-CH" sz="1000" dirty="0">
                <a:solidFill>
                  <a:schemeClr val="accent4"/>
                </a:solidFill>
              </a:rPr>
              <a:t>± 1.2</a:t>
            </a:r>
          </a:p>
        </p:txBody>
      </p:sp>
      <p:sp>
        <p:nvSpPr>
          <p:cNvPr id="95" name="Rechteck: abgerundete Ecken 94">
            <a:extLst>
              <a:ext uri="{FF2B5EF4-FFF2-40B4-BE49-F238E27FC236}">
                <a16:creationId xmlns:a16="http://schemas.microsoft.com/office/drawing/2014/main" id="{1D3B518A-CC0C-4890-BE4B-37079DFED497}"/>
              </a:ext>
            </a:extLst>
          </p:cNvPr>
          <p:cNvSpPr/>
          <p:nvPr/>
        </p:nvSpPr>
        <p:spPr>
          <a:xfrm>
            <a:off x="6518700" y="6243826"/>
            <a:ext cx="432000" cy="180000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200" dirty="0">
                <a:solidFill>
                  <a:srgbClr val="DA1838"/>
                </a:solidFill>
                <a:latin typeface="+mj-lt"/>
              </a:rPr>
              <a:t>-1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229F864C-96AF-285D-716C-9DC35030958C}"/>
              </a:ext>
            </a:extLst>
          </p:cNvPr>
          <p:cNvSpPr/>
          <p:nvPr/>
        </p:nvSpPr>
        <p:spPr>
          <a:xfrm>
            <a:off x="7104112" y="6349577"/>
            <a:ext cx="3315126" cy="211203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de-CH" sz="900" dirty="0">
                <a:solidFill>
                  <a:srgbClr val="F2B800"/>
                </a:solidFill>
                <a:latin typeface="+mj-lt"/>
              </a:rPr>
              <a:t>Sampling </a:t>
            </a:r>
            <a:r>
              <a:rPr lang="de-CH" sz="900" dirty="0" err="1">
                <a:solidFill>
                  <a:srgbClr val="F2B800"/>
                </a:solidFill>
                <a:latin typeface="+mj-lt"/>
              </a:rPr>
              <a:t>error</a:t>
            </a:r>
            <a:r>
              <a:rPr lang="de-CH" sz="900" dirty="0">
                <a:solidFill>
                  <a:srgbClr val="F2B800"/>
                </a:solidFill>
                <a:latin typeface="+mj-lt"/>
              </a:rPr>
              <a:t> (</a:t>
            </a:r>
            <a:r>
              <a:rPr lang="de-CH" sz="900" dirty="0" err="1">
                <a:solidFill>
                  <a:srgbClr val="F2B800"/>
                </a:solidFill>
                <a:latin typeface="+mj-lt"/>
              </a:rPr>
              <a:t>confidence</a:t>
            </a:r>
            <a:r>
              <a:rPr lang="de-CH" sz="900" dirty="0">
                <a:solidFill>
                  <a:srgbClr val="F2B800"/>
                </a:solidFill>
                <a:latin typeface="+mj-lt"/>
              </a:rPr>
              <a:t> </a:t>
            </a:r>
            <a:r>
              <a:rPr lang="de-CH" sz="900" dirty="0" err="1">
                <a:solidFill>
                  <a:srgbClr val="F2B800"/>
                </a:solidFill>
                <a:latin typeface="+mj-lt"/>
              </a:rPr>
              <a:t>level</a:t>
            </a:r>
            <a:r>
              <a:rPr lang="en-GB" sz="900" dirty="0">
                <a:solidFill>
                  <a:srgbClr val="F2B800"/>
                </a:solidFill>
                <a:latin typeface="+mj-lt"/>
              </a:rPr>
              <a:t> </a:t>
            </a:r>
            <a:r>
              <a:rPr lang="de-CH" sz="900" dirty="0">
                <a:solidFill>
                  <a:srgbClr val="F2B800"/>
                </a:solidFill>
                <a:latin typeface="+mj-lt"/>
              </a:rPr>
              <a:t>= 95%) in </a:t>
            </a:r>
            <a:r>
              <a:rPr lang="de-CH" sz="900" dirty="0" err="1">
                <a:solidFill>
                  <a:srgbClr val="F2B800"/>
                </a:solidFill>
                <a:latin typeface="+mj-lt"/>
              </a:rPr>
              <a:t>percentage</a:t>
            </a:r>
            <a:r>
              <a:rPr lang="de-CH" sz="900" dirty="0">
                <a:solidFill>
                  <a:srgbClr val="F2B800"/>
                </a:solidFill>
                <a:latin typeface="+mj-lt"/>
              </a:rPr>
              <a:t> </a:t>
            </a:r>
            <a:r>
              <a:rPr lang="de-CH" sz="900" dirty="0" err="1">
                <a:solidFill>
                  <a:srgbClr val="F2B800"/>
                </a:solidFill>
                <a:latin typeface="+mj-lt"/>
              </a:rPr>
              <a:t>points</a:t>
            </a:r>
            <a:endParaRPr lang="de-CH" sz="900" u="sng" dirty="0">
              <a:solidFill>
                <a:srgbClr val="F2B8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705774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Diagramm 5"/>
          <p:cNvGraphicFramePr/>
          <p:nvPr>
            <p:extLst>
              <p:ext uri="{D42A27DB-BD31-4B8C-83A1-F6EECF244321}">
                <p14:modId xmlns:p14="http://schemas.microsoft.com/office/powerpoint/2010/main" val="1477643977"/>
              </p:ext>
            </p:extLst>
          </p:nvPr>
        </p:nvGraphicFramePr>
        <p:xfrm>
          <a:off x="983432" y="1628706"/>
          <a:ext cx="10625862" cy="44704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7" name="Objek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3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17" name="Objekt 1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E18C1E-C518-44FC-8499-CA04C5B7C512}" type="slidenum">
              <a:rPr lang="de-CH" smtClean="0"/>
              <a:t>9</a:t>
            </a:fld>
            <a:endParaRPr lang="de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85267" y="786527"/>
            <a:ext cx="10450249" cy="470898"/>
          </a:xfrm>
        </p:spPr>
        <p:txBody>
          <a:bodyPr/>
          <a:lstStyle/>
          <a:p>
            <a:r>
              <a:rPr lang="de-CH" sz="1700" b="0" dirty="0"/>
              <a:t>10% </a:t>
            </a:r>
            <a:r>
              <a:rPr lang="de-CH" sz="1700" b="0" dirty="0" err="1"/>
              <a:t>of</a:t>
            </a:r>
            <a:r>
              <a:rPr lang="de-CH" sz="1700" b="0" dirty="0"/>
              <a:t> </a:t>
            </a:r>
            <a:r>
              <a:rPr lang="de-CH" sz="1700" b="0" dirty="0" err="1"/>
              <a:t>the</a:t>
            </a:r>
            <a:r>
              <a:rPr lang="de-CH" sz="1700" b="0" dirty="0"/>
              <a:t> </a:t>
            </a:r>
            <a:r>
              <a:rPr lang="de-CH" sz="1700" b="0" dirty="0" err="1"/>
              <a:t>population</a:t>
            </a:r>
            <a:r>
              <a:rPr lang="de-CH" sz="1700" b="0" dirty="0"/>
              <a:t> still listen </a:t>
            </a:r>
            <a:r>
              <a:rPr lang="de-CH" sz="1700" b="0" dirty="0" err="1"/>
              <a:t>exclusively</a:t>
            </a:r>
            <a:r>
              <a:rPr lang="de-CH" sz="1700" b="0" dirty="0"/>
              <a:t> </a:t>
            </a:r>
            <a:r>
              <a:rPr lang="de-CH" sz="1700" b="0" dirty="0" err="1"/>
              <a:t>to</a:t>
            </a:r>
            <a:r>
              <a:rPr lang="de-CH" sz="1700" b="0" dirty="0"/>
              <a:t> FM Radio. 76% listen </a:t>
            </a:r>
            <a:r>
              <a:rPr lang="de-CH" sz="1700" b="0" dirty="0" err="1"/>
              <a:t>to</a:t>
            </a:r>
            <a:r>
              <a:rPr lang="de-CH" sz="1700" b="0" dirty="0"/>
              <a:t> digital </a:t>
            </a:r>
            <a:r>
              <a:rPr lang="de-CH" sz="1700" b="0" dirty="0" err="1"/>
              <a:t>radio</a:t>
            </a:r>
            <a:r>
              <a:rPr lang="de-CH" sz="1700" b="0" dirty="0"/>
              <a:t>. </a:t>
            </a:r>
            <a:r>
              <a:rPr lang="de-CH" sz="1700" b="0" dirty="0" err="1"/>
              <a:t>Almost</a:t>
            </a:r>
            <a:r>
              <a:rPr lang="de-CH" sz="1700" b="0" dirty="0"/>
              <a:t> half </a:t>
            </a:r>
            <a:r>
              <a:rPr lang="de-CH" sz="1700" b="0" dirty="0" err="1"/>
              <a:t>of</a:t>
            </a:r>
            <a:r>
              <a:rPr lang="de-CH" sz="1700" b="0" dirty="0"/>
              <a:t> </a:t>
            </a:r>
            <a:r>
              <a:rPr lang="de-CH" sz="1700" b="0" dirty="0" err="1"/>
              <a:t>the</a:t>
            </a:r>
            <a:r>
              <a:rPr lang="de-CH" sz="1700" b="0" dirty="0"/>
              <a:t> </a:t>
            </a:r>
            <a:r>
              <a:rPr lang="de-CH" sz="1700" b="0" dirty="0" err="1"/>
              <a:t>population</a:t>
            </a:r>
            <a:r>
              <a:rPr lang="de-CH" sz="1700" b="0" dirty="0"/>
              <a:t> (45%) </a:t>
            </a:r>
            <a:r>
              <a:rPr lang="en-GB" sz="1700" b="0" dirty="0"/>
              <a:t>no longer listens to FM radio, only digital radio</a:t>
            </a:r>
            <a:r>
              <a:rPr lang="de-CH" sz="1700" b="0" dirty="0"/>
              <a:t>..</a:t>
            </a:r>
          </a:p>
        </p:txBody>
      </p:sp>
      <p:sp>
        <p:nvSpPr>
          <p:cNvPr id="37" name="Inhaltsplatzhalter 5"/>
          <p:cNvSpPr txBox="1">
            <a:spLocks/>
          </p:cNvSpPr>
          <p:nvPr/>
        </p:nvSpPr>
        <p:spPr>
          <a:xfrm>
            <a:off x="371475" y="1364643"/>
            <a:ext cx="11327356" cy="1938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54292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»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714375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hare by mode of transmission (in per cent</a:t>
            </a:r>
            <a:r>
              <a:rPr lang="de-CH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)</a:t>
            </a: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dirty="0"/>
              <a:t>DIGIMIG - </a:t>
            </a:r>
            <a:r>
              <a:rPr lang="en-GB" dirty="0"/>
              <a:t>The research project on the digital migration of radio usage in Switzerland</a:t>
            </a:r>
            <a:endParaRPr lang="de-CH" dirty="0"/>
          </a:p>
        </p:txBody>
      </p:sp>
      <p:sp>
        <p:nvSpPr>
          <p:cNvPr id="68" name="Rechteck 67"/>
          <p:cNvSpPr>
            <a:spLocks/>
          </p:cNvSpPr>
          <p:nvPr/>
        </p:nvSpPr>
        <p:spPr>
          <a:xfrm>
            <a:off x="10900867" y="1628706"/>
            <a:ext cx="595732" cy="4437244"/>
          </a:xfrm>
          <a:prstGeom prst="rect">
            <a:avLst/>
          </a:prstGeom>
          <a:noFill/>
          <a:ln w="19050">
            <a:solidFill>
              <a:srgbClr val="DA18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cxnSp>
        <p:nvCxnSpPr>
          <p:cNvPr id="88" name="Gerade Verbindung 87"/>
          <p:cNvCxnSpPr/>
          <p:nvPr/>
        </p:nvCxnSpPr>
        <p:spPr>
          <a:xfrm>
            <a:off x="371475" y="1270165"/>
            <a:ext cx="11353800" cy="0"/>
          </a:xfrm>
          <a:prstGeom prst="line">
            <a:avLst/>
          </a:prstGeom>
          <a:ln w="19050">
            <a:gradFill flip="none" rotWithShape="1">
              <a:gsLst>
                <a:gs pos="43000">
                  <a:srgbClr val="DA1838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itel 8"/>
          <p:cNvSpPr>
            <a:spLocks noGrp="1"/>
          </p:cNvSpPr>
          <p:nvPr>
            <p:ph type="title"/>
          </p:nvPr>
        </p:nvSpPr>
        <p:spPr>
          <a:xfrm>
            <a:off x="385267" y="399357"/>
            <a:ext cx="10515600" cy="387798"/>
          </a:xfrm>
        </p:spPr>
        <p:txBody>
          <a:bodyPr/>
          <a:lstStyle/>
          <a:p>
            <a:r>
              <a:rPr lang="en-GB" dirty="0">
                <a:latin typeface="Cambria" panose="02040503050406030204" pitchFamily="18" charset="0"/>
                <a:ea typeface="Cambria" panose="02040503050406030204" pitchFamily="18" charset="0"/>
              </a:rPr>
              <a:t>Development of user share over time</a:t>
            </a:r>
            <a:endParaRPr lang="de-CH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cxnSp>
        <p:nvCxnSpPr>
          <p:cNvPr id="121" name="Gerade Verbindung 85">
            <a:extLst>
              <a:ext uri="{FF2B5EF4-FFF2-40B4-BE49-F238E27FC236}">
                <a16:creationId xmlns:a16="http://schemas.microsoft.com/office/drawing/2014/main" id="{FB45633F-0DFA-484E-8EB9-E68A24E73382}"/>
              </a:ext>
            </a:extLst>
          </p:cNvPr>
          <p:cNvCxnSpPr/>
          <p:nvPr/>
        </p:nvCxnSpPr>
        <p:spPr>
          <a:xfrm>
            <a:off x="371475" y="1270165"/>
            <a:ext cx="11353800" cy="0"/>
          </a:xfrm>
          <a:prstGeom prst="line">
            <a:avLst/>
          </a:prstGeom>
          <a:ln w="19050">
            <a:gradFill flip="none" rotWithShape="1">
              <a:gsLst>
                <a:gs pos="43000">
                  <a:srgbClr val="DA1838"/>
                </a:gs>
                <a:gs pos="100000">
                  <a:schemeClr val="bg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Rechteck 121">
            <a:extLst>
              <a:ext uri="{FF2B5EF4-FFF2-40B4-BE49-F238E27FC236}">
                <a16:creationId xmlns:a16="http://schemas.microsoft.com/office/drawing/2014/main" id="{D6D5C972-3ABC-4899-9B68-17C7C2F13C04}"/>
              </a:ext>
            </a:extLst>
          </p:cNvPr>
          <p:cNvSpPr/>
          <p:nvPr/>
        </p:nvSpPr>
        <p:spPr>
          <a:xfrm>
            <a:off x="10919853" y="6808"/>
            <a:ext cx="68691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CH" sz="1400" b="1" dirty="0">
                <a:solidFill>
                  <a:srgbClr val="DA1838"/>
                </a:solidFill>
              </a:rPr>
              <a:t>REACH</a:t>
            </a: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1CE5C042-77E9-4DD9-8630-DA62C640451D}"/>
              </a:ext>
            </a:extLst>
          </p:cNvPr>
          <p:cNvSpPr/>
          <p:nvPr/>
        </p:nvSpPr>
        <p:spPr>
          <a:xfrm>
            <a:off x="10890812" y="282575"/>
            <a:ext cx="720000" cy="720000"/>
          </a:xfrm>
          <a:prstGeom prst="ellipse">
            <a:avLst/>
          </a:prstGeom>
          <a:gradFill>
            <a:gsLst>
              <a:gs pos="100000">
                <a:srgbClr val="F5A1AF"/>
              </a:gs>
              <a:gs pos="35000">
                <a:srgbClr val="DA1838"/>
              </a:gs>
              <a:gs pos="1000">
                <a:srgbClr val="A2122A"/>
              </a:gs>
              <a:gs pos="65000">
                <a:srgbClr val="EC526C"/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pic>
        <p:nvPicPr>
          <p:cNvPr id="69" name="Grafik 68">
            <a:extLst>
              <a:ext uri="{FF2B5EF4-FFF2-40B4-BE49-F238E27FC236}">
                <a16:creationId xmlns:a16="http://schemas.microsoft.com/office/drawing/2014/main" id="{A5DA7E95-5E5D-4749-A3D9-067586BB0CC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3289" y="383024"/>
            <a:ext cx="926626" cy="537940"/>
          </a:xfrm>
          <a:prstGeom prst="rect">
            <a:avLst/>
          </a:prstGeom>
        </p:spPr>
      </p:pic>
      <p:sp>
        <p:nvSpPr>
          <p:cNvPr id="85" name="Textfeld 84">
            <a:extLst>
              <a:ext uri="{FF2B5EF4-FFF2-40B4-BE49-F238E27FC236}">
                <a16:creationId xmlns:a16="http://schemas.microsoft.com/office/drawing/2014/main" id="{FAB3272B-202A-466E-A1CA-12A06AEEAF50}"/>
              </a:ext>
            </a:extLst>
          </p:cNvPr>
          <p:cNvSpPr txBox="1"/>
          <p:nvPr/>
        </p:nvSpPr>
        <p:spPr>
          <a:xfrm>
            <a:off x="371472" y="6309320"/>
            <a:ext cx="1123933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ource: GfK Switzerland, </a:t>
            </a:r>
            <a:r>
              <a:rPr lang="de-CH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DigiMig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</a:t>
            </a:r>
            <a:r>
              <a:rPr lang="de-CH" sz="9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urvey</a:t>
            </a:r>
            <a:r>
              <a:rPr lang="de-CH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, n(2015/2)=2’453, n(2016/1)=2’526, n(2016/2)=2’531, n(2017/1)=2’504, n(2017/2)=2’519, n(2018/1)=2’673, n(2018/2)=2’761, n(2019/1)=2’740, n(2019/2)=2’800 , n(2020/1)=2’625, n(2020/2)=2’671, n(2021/1)=2’670, n(2021/2)=2’801, n(2022/1)=2’789, n(2022/2)=2’841, n(2023/1)=2’756), n(2023/2)=2’725</a:t>
            </a: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6DEC6D10-CAC4-4D8E-8E0A-1525C3588429}"/>
              </a:ext>
            </a:extLst>
          </p:cNvPr>
          <p:cNvGrpSpPr/>
          <p:nvPr/>
        </p:nvGrpSpPr>
        <p:grpSpPr>
          <a:xfrm>
            <a:off x="11409575" y="1917150"/>
            <a:ext cx="631399" cy="3004968"/>
            <a:chOff x="11355604" y="1917150"/>
            <a:chExt cx="631399" cy="3004968"/>
          </a:xfrm>
        </p:grpSpPr>
        <p:sp>
          <p:nvSpPr>
            <p:cNvPr id="30" name="Textfeld 29">
              <a:extLst>
                <a:ext uri="{FF2B5EF4-FFF2-40B4-BE49-F238E27FC236}">
                  <a16:creationId xmlns:a16="http://schemas.microsoft.com/office/drawing/2014/main" id="{364D503D-85B9-4692-817F-34D5831642EE}"/>
                </a:ext>
              </a:extLst>
            </p:cNvPr>
            <p:cNvSpPr txBox="1"/>
            <p:nvPr/>
          </p:nvSpPr>
          <p:spPr>
            <a:xfrm>
              <a:off x="11355604" y="1917150"/>
              <a:ext cx="631399" cy="22659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1000" dirty="0">
                  <a:solidFill>
                    <a:schemeClr val="accent4"/>
                  </a:solidFill>
                </a:rPr>
                <a:t>± 1.2</a:t>
              </a:r>
            </a:p>
          </p:txBody>
        </p:sp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61490B0E-34E0-4C8F-A1FC-964D62AC87CD}"/>
                </a:ext>
              </a:extLst>
            </p:cNvPr>
            <p:cNvSpPr txBox="1"/>
            <p:nvPr/>
          </p:nvSpPr>
          <p:spPr>
            <a:xfrm>
              <a:off x="11355604" y="2820300"/>
              <a:ext cx="631399" cy="22659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1000" dirty="0">
                  <a:solidFill>
                    <a:schemeClr val="accent4"/>
                  </a:solidFill>
                </a:rPr>
                <a:t>± 1.9</a:t>
              </a:r>
            </a:p>
          </p:txBody>
        </p:sp>
        <p:sp>
          <p:nvSpPr>
            <p:cNvPr id="32" name="Textfeld 31">
              <a:extLst>
                <a:ext uri="{FF2B5EF4-FFF2-40B4-BE49-F238E27FC236}">
                  <a16:creationId xmlns:a16="http://schemas.microsoft.com/office/drawing/2014/main" id="{716F2F8E-CB05-45FE-8A23-FF0AF3718977}"/>
                </a:ext>
              </a:extLst>
            </p:cNvPr>
            <p:cNvSpPr txBox="1"/>
            <p:nvPr/>
          </p:nvSpPr>
          <p:spPr>
            <a:xfrm>
              <a:off x="11355604" y="4049857"/>
              <a:ext cx="631399" cy="22659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1000" dirty="0">
                  <a:solidFill>
                    <a:schemeClr val="accent4"/>
                  </a:solidFill>
                </a:rPr>
                <a:t>± 1.7</a:t>
              </a:r>
            </a:p>
          </p:txBody>
        </p:sp>
        <p:sp>
          <p:nvSpPr>
            <p:cNvPr id="33" name="Textfeld 32">
              <a:extLst>
                <a:ext uri="{FF2B5EF4-FFF2-40B4-BE49-F238E27FC236}">
                  <a16:creationId xmlns:a16="http://schemas.microsoft.com/office/drawing/2014/main" id="{0C9AD839-6618-4941-A573-D9C779094368}"/>
                </a:ext>
              </a:extLst>
            </p:cNvPr>
            <p:cNvSpPr txBox="1"/>
            <p:nvPr/>
          </p:nvSpPr>
          <p:spPr>
            <a:xfrm>
              <a:off x="11355604" y="4695527"/>
              <a:ext cx="631399" cy="22659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/>
              <a:r>
                <a:rPr lang="de-CH" sz="1000" dirty="0">
                  <a:solidFill>
                    <a:schemeClr val="accent4"/>
                  </a:solidFill>
                </a:rPr>
                <a:t>± 1.1</a:t>
              </a:r>
            </a:p>
          </p:txBody>
        </p:sp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085C597E-9902-4CA0-9246-10AC90E7D11C}"/>
              </a:ext>
            </a:extLst>
          </p:cNvPr>
          <p:cNvGrpSpPr/>
          <p:nvPr/>
        </p:nvGrpSpPr>
        <p:grpSpPr>
          <a:xfrm>
            <a:off x="335360" y="1695630"/>
            <a:ext cx="1000594" cy="3068872"/>
            <a:chOff x="335360" y="1695630"/>
            <a:chExt cx="1000594" cy="3068872"/>
          </a:xfrm>
        </p:grpSpPr>
        <p:sp>
          <p:nvSpPr>
            <p:cNvPr id="35" name="Textfeld 34">
              <a:extLst>
                <a:ext uri="{FF2B5EF4-FFF2-40B4-BE49-F238E27FC236}">
                  <a16:creationId xmlns:a16="http://schemas.microsoft.com/office/drawing/2014/main" id="{5B913F47-E7A1-41D5-AEB0-7B310419898E}"/>
                </a:ext>
              </a:extLst>
            </p:cNvPr>
            <p:cNvSpPr txBox="1"/>
            <p:nvPr/>
          </p:nvSpPr>
          <p:spPr>
            <a:xfrm>
              <a:off x="534133" y="1695630"/>
              <a:ext cx="734496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100" dirty="0" err="1">
                  <a:solidFill>
                    <a:schemeClr val="bg1">
                      <a:lumMod val="75000"/>
                    </a:schemeClr>
                  </a:solidFill>
                  <a:ea typeface="Cambria" panose="02040503050406030204" pitchFamily="18" charset="0"/>
                </a:rPr>
                <a:t>Unknown</a:t>
              </a:r>
              <a:endParaRPr lang="de-CH" sz="1100" dirty="0">
                <a:solidFill>
                  <a:schemeClr val="bg1">
                    <a:lumMod val="75000"/>
                  </a:schemeClr>
                </a:solidFill>
                <a:ea typeface="Cambria" panose="02040503050406030204" pitchFamily="18" charset="0"/>
              </a:endParaRPr>
            </a:p>
          </p:txBody>
        </p:sp>
        <p:sp>
          <p:nvSpPr>
            <p:cNvPr id="36" name="Textfeld 35">
              <a:extLst>
                <a:ext uri="{FF2B5EF4-FFF2-40B4-BE49-F238E27FC236}">
                  <a16:creationId xmlns:a16="http://schemas.microsoft.com/office/drawing/2014/main" id="{5BC42D57-E458-46C7-9FCA-AC85B2D18489}"/>
                </a:ext>
              </a:extLst>
            </p:cNvPr>
            <p:cNvSpPr txBox="1"/>
            <p:nvPr/>
          </p:nvSpPr>
          <p:spPr>
            <a:xfrm>
              <a:off x="545353" y="1853201"/>
              <a:ext cx="705642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100" dirty="0" err="1">
                  <a:solidFill>
                    <a:schemeClr val="bg1">
                      <a:lumMod val="50000"/>
                    </a:schemeClr>
                  </a:solidFill>
                  <a:ea typeface="Cambria" panose="02040503050406030204" pitchFamily="18" charset="0"/>
                </a:rPr>
                <a:t>No</a:t>
              </a:r>
              <a:r>
                <a:rPr lang="de-CH" sz="1100" dirty="0">
                  <a:solidFill>
                    <a:schemeClr val="bg1">
                      <a:lumMod val="50000"/>
                    </a:schemeClr>
                  </a:solidFill>
                  <a:ea typeface="Cambria" panose="02040503050406030204" pitchFamily="18" charset="0"/>
                </a:rPr>
                <a:t> Radio</a:t>
              </a:r>
            </a:p>
          </p:txBody>
        </p:sp>
        <p:sp>
          <p:nvSpPr>
            <p:cNvPr id="38" name="Textfeld 37">
              <a:extLst>
                <a:ext uri="{FF2B5EF4-FFF2-40B4-BE49-F238E27FC236}">
                  <a16:creationId xmlns:a16="http://schemas.microsoft.com/office/drawing/2014/main" id="{5605DC19-CC69-4DB5-A914-8ADBA5D24DCD}"/>
                </a:ext>
              </a:extLst>
            </p:cNvPr>
            <p:cNvSpPr txBox="1"/>
            <p:nvPr/>
          </p:nvSpPr>
          <p:spPr>
            <a:xfrm>
              <a:off x="494057" y="2213005"/>
              <a:ext cx="841897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100" dirty="0">
                  <a:solidFill>
                    <a:srgbClr val="DD2241"/>
                  </a:solidFill>
                  <a:ea typeface="Cambria" panose="02040503050406030204" pitchFamily="18" charset="0"/>
                </a:rPr>
                <a:t>Digital </a:t>
              </a:r>
              <a:r>
                <a:rPr lang="de-CH" sz="1100" dirty="0" err="1">
                  <a:solidFill>
                    <a:srgbClr val="DD2241"/>
                  </a:solidFill>
                  <a:ea typeface="Cambria" panose="02040503050406030204" pitchFamily="18" charset="0"/>
                </a:rPr>
                <a:t>Only</a:t>
              </a:r>
              <a:endParaRPr lang="de-CH" sz="1100" dirty="0">
                <a:solidFill>
                  <a:srgbClr val="DD2241"/>
                </a:solidFill>
                <a:ea typeface="Cambria" panose="02040503050406030204" pitchFamily="18" charset="0"/>
              </a:endParaRPr>
            </a:p>
          </p:txBody>
        </p:sp>
        <p:sp>
          <p:nvSpPr>
            <p:cNvPr id="39" name="Textfeld 38">
              <a:extLst>
                <a:ext uri="{FF2B5EF4-FFF2-40B4-BE49-F238E27FC236}">
                  <a16:creationId xmlns:a16="http://schemas.microsoft.com/office/drawing/2014/main" id="{BA01C4A3-0365-4ACF-8585-27124AB84700}"/>
                </a:ext>
              </a:extLst>
            </p:cNvPr>
            <p:cNvSpPr txBox="1"/>
            <p:nvPr/>
          </p:nvSpPr>
          <p:spPr>
            <a:xfrm>
              <a:off x="335360" y="3298195"/>
              <a:ext cx="891591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100" dirty="0">
                  <a:solidFill>
                    <a:srgbClr val="000000"/>
                  </a:solidFill>
                  <a:ea typeface="Cambria" panose="02040503050406030204" pitchFamily="18" charset="0"/>
                </a:rPr>
                <a:t>FM &amp; Digital</a:t>
              </a:r>
            </a:p>
          </p:txBody>
        </p:sp>
        <p:sp>
          <p:nvSpPr>
            <p:cNvPr id="40" name="Textfeld 39">
              <a:extLst>
                <a:ext uri="{FF2B5EF4-FFF2-40B4-BE49-F238E27FC236}">
                  <a16:creationId xmlns:a16="http://schemas.microsoft.com/office/drawing/2014/main" id="{26BA0268-4148-4F8C-B7A4-4313743C9EE6}"/>
                </a:ext>
              </a:extLst>
            </p:cNvPr>
            <p:cNvSpPr txBox="1"/>
            <p:nvPr/>
          </p:nvSpPr>
          <p:spPr>
            <a:xfrm>
              <a:off x="579017" y="4502892"/>
              <a:ext cx="66396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100" dirty="0">
                  <a:solidFill>
                    <a:srgbClr val="7F7F7F"/>
                  </a:solidFill>
                  <a:ea typeface="Cambria" panose="02040503050406030204" pitchFamily="18" charset="0"/>
                </a:rPr>
                <a:t>FM </a:t>
              </a:r>
              <a:r>
                <a:rPr lang="de-CH" sz="1100" dirty="0" err="1">
                  <a:solidFill>
                    <a:srgbClr val="7F7F7F"/>
                  </a:solidFill>
                  <a:ea typeface="Cambria" panose="02040503050406030204" pitchFamily="18" charset="0"/>
                </a:rPr>
                <a:t>Only</a:t>
              </a:r>
              <a:endParaRPr lang="de-CH" sz="1100" dirty="0">
                <a:solidFill>
                  <a:srgbClr val="7F7F7F"/>
                </a:solidFill>
                <a:ea typeface="Cambria" panose="02040503050406030204" pitchFamily="18" charset="0"/>
              </a:endParaRPr>
            </a:p>
          </p:txBody>
        </p:sp>
      </p:grpSp>
      <p:sp>
        <p:nvSpPr>
          <p:cNvPr id="3" name="Rechteck 2">
            <a:extLst>
              <a:ext uri="{FF2B5EF4-FFF2-40B4-BE49-F238E27FC236}">
                <a16:creationId xmlns:a16="http://schemas.microsoft.com/office/drawing/2014/main" id="{DF7BFAE3-99F6-8999-E389-4F3C2DE61B31}"/>
              </a:ext>
            </a:extLst>
          </p:cNvPr>
          <p:cNvSpPr/>
          <p:nvPr/>
        </p:nvSpPr>
        <p:spPr>
          <a:xfrm>
            <a:off x="8570770" y="6534459"/>
            <a:ext cx="3315126" cy="211203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de-CH" sz="900" dirty="0">
                <a:solidFill>
                  <a:srgbClr val="F2B800"/>
                </a:solidFill>
                <a:latin typeface="+mj-lt"/>
              </a:rPr>
              <a:t>Sampling </a:t>
            </a:r>
            <a:r>
              <a:rPr lang="de-CH" sz="900" dirty="0" err="1">
                <a:solidFill>
                  <a:srgbClr val="F2B800"/>
                </a:solidFill>
                <a:latin typeface="+mj-lt"/>
              </a:rPr>
              <a:t>error</a:t>
            </a:r>
            <a:r>
              <a:rPr lang="de-CH" sz="900" dirty="0">
                <a:solidFill>
                  <a:srgbClr val="F2B800"/>
                </a:solidFill>
                <a:latin typeface="+mj-lt"/>
              </a:rPr>
              <a:t> (</a:t>
            </a:r>
            <a:r>
              <a:rPr lang="de-CH" sz="900" dirty="0" err="1">
                <a:solidFill>
                  <a:srgbClr val="F2B800"/>
                </a:solidFill>
                <a:latin typeface="+mj-lt"/>
              </a:rPr>
              <a:t>confidence</a:t>
            </a:r>
            <a:r>
              <a:rPr lang="de-CH" sz="900" dirty="0">
                <a:solidFill>
                  <a:srgbClr val="F2B800"/>
                </a:solidFill>
                <a:latin typeface="+mj-lt"/>
              </a:rPr>
              <a:t> </a:t>
            </a:r>
            <a:r>
              <a:rPr lang="de-CH" sz="900" dirty="0" err="1">
                <a:solidFill>
                  <a:srgbClr val="F2B800"/>
                </a:solidFill>
                <a:latin typeface="+mj-lt"/>
              </a:rPr>
              <a:t>level</a:t>
            </a:r>
            <a:r>
              <a:rPr lang="en-GB" sz="900" dirty="0">
                <a:solidFill>
                  <a:srgbClr val="F2B800"/>
                </a:solidFill>
                <a:latin typeface="+mj-lt"/>
              </a:rPr>
              <a:t> </a:t>
            </a:r>
            <a:r>
              <a:rPr lang="de-CH" sz="900" dirty="0">
                <a:solidFill>
                  <a:srgbClr val="F2B800"/>
                </a:solidFill>
                <a:latin typeface="+mj-lt"/>
              </a:rPr>
              <a:t>= 95%) in </a:t>
            </a:r>
            <a:r>
              <a:rPr lang="de-CH" sz="900" dirty="0" err="1">
                <a:solidFill>
                  <a:srgbClr val="F2B800"/>
                </a:solidFill>
                <a:latin typeface="+mj-lt"/>
              </a:rPr>
              <a:t>percentage</a:t>
            </a:r>
            <a:r>
              <a:rPr lang="de-CH" sz="900" dirty="0">
                <a:solidFill>
                  <a:srgbClr val="F2B800"/>
                </a:solidFill>
                <a:latin typeface="+mj-lt"/>
              </a:rPr>
              <a:t> </a:t>
            </a:r>
            <a:r>
              <a:rPr lang="de-CH" sz="900" dirty="0" err="1">
                <a:solidFill>
                  <a:srgbClr val="F2B800"/>
                </a:solidFill>
                <a:latin typeface="+mj-lt"/>
              </a:rPr>
              <a:t>points</a:t>
            </a:r>
            <a:endParaRPr lang="de-CH" sz="900" u="sng" dirty="0">
              <a:solidFill>
                <a:srgbClr val="F2B8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066807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8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Eh4b_vKnXywsY7hhZv6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lMeitX2D_4QvCh1pjMR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E0ImrjwjL5m9yb569LR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JmRbdwbPtaNs8.AVn58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isZCL0CDRTDeEgUnpGi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6968;42.51968;28.26968;42.51968;28.26968;42.51968;28.26968;42.51968;28.26968;42.51968;"/>
  <p:tag name="VCT-BULLETVISIBILITY" val="G  *******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 Group_16-9_redesign.potx"/>
  <p:tag name="VCTMASTER" val="GfK Group"/>
  <p:tag name="VCTORDER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GfK Group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Admeira PPT Master Farben">
    <a:dk1>
      <a:sysClr val="windowText" lastClr="000000"/>
    </a:dk1>
    <a:lt1>
      <a:srgbClr val="FFFFFF"/>
    </a:lt1>
    <a:dk2>
      <a:srgbClr val="9D79B4"/>
    </a:dk2>
    <a:lt2>
      <a:srgbClr val="71CBF4"/>
    </a:lt2>
    <a:accent1>
      <a:srgbClr val="E40048"/>
    </a:accent1>
    <a:accent2>
      <a:srgbClr val="009BA7"/>
    </a:accent2>
    <a:accent3>
      <a:srgbClr val="000000"/>
    </a:accent3>
    <a:accent4>
      <a:srgbClr val="BCBCBC"/>
    </a:accent4>
    <a:accent5>
      <a:srgbClr val="878787"/>
    </a:accent5>
    <a:accent6>
      <a:srgbClr val="584495"/>
    </a:accent6>
    <a:hlink>
      <a:srgbClr val="E40048"/>
    </a:hlink>
    <a:folHlink>
      <a:srgbClr val="009BA7"/>
    </a:folHlink>
  </a:clrScheme>
  <a:fontScheme name="Admeira ATC Overlook">
    <a:majorFont>
      <a:latin typeface="ATC Overlook Bold"/>
      <a:ea typeface=""/>
      <a:cs typeface=""/>
    </a:majorFont>
    <a:minorFont>
      <a:latin typeface="ATC Overlook Extra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Admeira PPT Master Farben">
    <a:dk1>
      <a:sysClr val="windowText" lastClr="000000"/>
    </a:dk1>
    <a:lt1>
      <a:srgbClr val="FFFFFF"/>
    </a:lt1>
    <a:dk2>
      <a:srgbClr val="9D79B4"/>
    </a:dk2>
    <a:lt2>
      <a:srgbClr val="71CBF4"/>
    </a:lt2>
    <a:accent1>
      <a:srgbClr val="E40048"/>
    </a:accent1>
    <a:accent2>
      <a:srgbClr val="009BA7"/>
    </a:accent2>
    <a:accent3>
      <a:srgbClr val="000000"/>
    </a:accent3>
    <a:accent4>
      <a:srgbClr val="BCBCBC"/>
    </a:accent4>
    <a:accent5>
      <a:srgbClr val="878787"/>
    </a:accent5>
    <a:accent6>
      <a:srgbClr val="584495"/>
    </a:accent6>
    <a:hlink>
      <a:srgbClr val="E40048"/>
    </a:hlink>
    <a:folHlink>
      <a:srgbClr val="009BA7"/>
    </a:folHlink>
  </a:clrScheme>
  <a:fontScheme name="Admeira ATC Overlook">
    <a:majorFont>
      <a:latin typeface="ATC Overlook Bold"/>
      <a:ea typeface=""/>
      <a:cs typeface=""/>
    </a:majorFont>
    <a:minorFont>
      <a:latin typeface="ATC Overlook Extra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Admeira PPT Master Farben">
    <a:dk1>
      <a:sysClr val="windowText" lastClr="000000"/>
    </a:dk1>
    <a:lt1>
      <a:srgbClr val="FFFFFF"/>
    </a:lt1>
    <a:dk2>
      <a:srgbClr val="9D79B4"/>
    </a:dk2>
    <a:lt2>
      <a:srgbClr val="71CBF4"/>
    </a:lt2>
    <a:accent1>
      <a:srgbClr val="E40048"/>
    </a:accent1>
    <a:accent2>
      <a:srgbClr val="009BA7"/>
    </a:accent2>
    <a:accent3>
      <a:srgbClr val="000000"/>
    </a:accent3>
    <a:accent4>
      <a:srgbClr val="BCBCBC"/>
    </a:accent4>
    <a:accent5>
      <a:srgbClr val="878787"/>
    </a:accent5>
    <a:accent6>
      <a:srgbClr val="584495"/>
    </a:accent6>
    <a:hlink>
      <a:srgbClr val="E40048"/>
    </a:hlink>
    <a:folHlink>
      <a:srgbClr val="009BA7"/>
    </a:folHlink>
  </a:clrScheme>
  <a:fontScheme name="Admeira ATC Overlook">
    <a:majorFont>
      <a:latin typeface="ATC Overlook Bold"/>
      <a:ea typeface=""/>
      <a:cs typeface=""/>
    </a:majorFont>
    <a:minorFont>
      <a:latin typeface="ATC Overlook Extra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Admeira PPT Master Farben">
    <a:dk1>
      <a:sysClr val="windowText" lastClr="000000"/>
    </a:dk1>
    <a:lt1>
      <a:srgbClr val="FFFFFF"/>
    </a:lt1>
    <a:dk2>
      <a:srgbClr val="9D79B4"/>
    </a:dk2>
    <a:lt2>
      <a:srgbClr val="71CBF4"/>
    </a:lt2>
    <a:accent1>
      <a:srgbClr val="E40048"/>
    </a:accent1>
    <a:accent2>
      <a:srgbClr val="009BA7"/>
    </a:accent2>
    <a:accent3>
      <a:srgbClr val="000000"/>
    </a:accent3>
    <a:accent4>
      <a:srgbClr val="BCBCBC"/>
    </a:accent4>
    <a:accent5>
      <a:srgbClr val="878787"/>
    </a:accent5>
    <a:accent6>
      <a:srgbClr val="584495"/>
    </a:accent6>
    <a:hlink>
      <a:srgbClr val="E40048"/>
    </a:hlink>
    <a:folHlink>
      <a:srgbClr val="009BA7"/>
    </a:folHlink>
  </a:clrScheme>
  <a:fontScheme name="Admeira ATC Overlook">
    <a:majorFont>
      <a:latin typeface="ATC Overlook Bold"/>
      <a:ea typeface=""/>
      <a:cs typeface=""/>
    </a:majorFont>
    <a:minorFont>
      <a:latin typeface="ATC Overlook Extra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Admeira PPT Master Farben">
    <a:dk1>
      <a:sysClr val="windowText" lastClr="000000"/>
    </a:dk1>
    <a:lt1>
      <a:srgbClr val="FFFFFF"/>
    </a:lt1>
    <a:dk2>
      <a:srgbClr val="9D79B4"/>
    </a:dk2>
    <a:lt2>
      <a:srgbClr val="71CBF4"/>
    </a:lt2>
    <a:accent1>
      <a:srgbClr val="E40048"/>
    </a:accent1>
    <a:accent2>
      <a:srgbClr val="009BA7"/>
    </a:accent2>
    <a:accent3>
      <a:srgbClr val="000000"/>
    </a:accent3>
    <a:accent4>
      <a:srgbClr val="BCBCBC"/>
    </a:accent4>
    <a:accent5>
      <a:srgbClr val="878787"/>
    </a:accent5>
    <a:accent6>
      <a:srgbClr val="584495"/>
    </a:accent6>
    <a:hlink>
      <a:srgbClr val="E40048"/>
    </a:hlink>
    <a:folHlink>
      <a:srgbClr val="009BA7"/>
    </a:folHlink>
  </a:clrScheme>
  <a:fontScheme name="Admeira ATC Overlook">
    <a:majorFont>
      <a:latin typeface="ATC Overlook Bold"/>
      <a:ea typeface=""/>
      <a:cs typeface=""/>
    </a:majorFont>
    <a:minorFont>
      <a:latin typeface="ATC Overlook Extra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Admeira PPT Master Farben">
    <a:dk1>
      <a:sysClr val="windowText" lastClr="000000"/>
    </a:dk1>
    <a:lt1>
      <a:srgbClr val="FFFFFF"/>
    </a:lt1>
    <a:dk2>
      <a:srgbClr val="9D79B4"/>
    </a:dk2>
    <a:lt2>
      <a:srgbClr val="71CBF4"/>
    </a:lt2>
    <a:accent1>
      <a:srgbClr val="E40048"/>
    </a:accent1>
    <a:accent2>
      <a:srgbClr val="009BA7"/>
    </a:accent2>
    <a:accent3>
      <a:srgbClr val="000000"/>
    </a:accent3>
    <a:accent4>
      <a:srgbClr val="BCBCBC"/>
    </a:accent4>
    <a:accent5>
      <a:srgbClr val="878787"/>
    </a:accent5>
    <a:accent6>
      <a:srgbClr val="584495"/>
    </a:accent6>
    <a:hlink>
      <a:srgbClr val="E40048"/>
    </a:hlink>
    <a:folHlink>
      <a:srgbClr val="009BA7"/>
    </a:folHlink>
  </a:clrScheme>
  <a:fontScheme name="Admeira ATC Overlook">
    <a:majorFont>
      <a:latin typeface="ATC Overlook Bold"/>
      <a:ea typeface=""/>
      <a:cs typeface=""/>
    </a:majorFont>
    <a:minorFont>
      <a:latin typeface="ATC Overlook Extra 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44C5F2FAA306D40AC15DB2EBE0DB8B4" ma:contentTypeVersion="17" ma:contentTypeDescription="Ein neues Dokument erstellen." ma:contentTypeScope="" ma:versionID="9cc94efa35373235313f4af1211e3498">
  <xsd:schema xmlns:xsd="http://www.w3.org/2001/XMLSchema" xmlns:xs="http://www.w3.org/2001/XMLSchema" xmlns:p="http://schemas.microsoft.com/office/2006/metadata/properties" xmlns:ns2="72cc5f12-433d-4193-85c6-6114a703c977" xmlns:ns3="7a218f4f-f37c-4b59-9237-6ee4e42a97e3" targetNamespace="http://schemas.microsoft.com/office/2006/metadata/properties" ma:root="true" ma:fieldsID="0ef915e18453d2bb2b7e8d53d5f401e0" ns2:_="" ns3:_="">
    <xsd:import namespace="72cc5f12-433d-4193-85c6-6114a703c977"/>
    <xsd:import namespace="7a218f4f-f37c-4b59-9237-6ee4e42a97e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cc5f12-433d-4193-85c6-6114a703c97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26f6fbef-03e1-447a-b5c3-eae2b9c285b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a218f4f-f37c-4b59-9237-6ee4e42a97e3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69fdc32e-e64b-4fed-acb9-b5d6760ba4a0}" ma:internalName="TaxCatchAll" ma:showField="CatchAllData" ma:web="7a218f4f-f37c-4b59-9237-6ee4e42a97e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7a218f4f-f37c-4b59-9237-6ee4e42a97e3" xsi:nil="true"/>
    <lcf76f155ced4ddcb4097134ff3c332f xmlns="72cc5f12-433d-4193-85c6-6114a703c977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9759233D-37CC-4DC5-9729-E4CC0816B8A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2cc5f12-433d-4193-85c6-6114a703c977"/>
    <ds:schemaRef ds:uri="7a218f4f-f37c-4b59-9237-6ee4e42a97e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DB5F640-E152-4C58-8C4F-43A87D0C1B6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EAE1703-0F95-4D60-8FD0-AD6061EFE042}">
  <ds:schemaRefs>
    <ds:schemaRef ds:uri="http://purl.org/dc/elements/1.1/"/>
    <ds:schemaRef ds:uri="http://purl.org/dc/terms/"/>
    <ds:schemaRef ds:uri="http://schemas.microsoft.com/office/2006/metadata/properties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7a218f4f-f37c-4b59-9237-6ee4e42a97e3"/>
    <ds:schemaRef ds:uri="72cc5f12-433d-4193-85c6-6114a703c977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858</Words>
  <Application>Microsoft Office PowerPoint</Application>
  <PresentationFormat>Breitbild</PresentationFormat>
  <Paragraphs>244</Paragraphs>
  <Slides>10</Slides>
  <Notes>10</Notes>
  <HiddenSlides>7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21" baseType="lpstr">
      <vt:lpstr>Arial</vt:lpstr>
      <vt:lpstr>ATC Overlook Extra Light</vt:lpstr>
      <vt:lpstr>Calibri</vt:lpstr>
      <vt:lpstr>Calibri Light</vt:lpstr>
      <vt:lpstr>Cambria</vt:lpstr>
      <vt:lpstr>Courier New</vt:lpstr>
      <vt:lpstr>Symbol</vt:lpstr>
      <vt:lpstr>Wingdings</vt:lpstr>
      <vt:lpstr>Office</vt:lpstr>
      <vt:lpstr>GfK Group</vt:lpstr>
      <vt:lpstr>think-cell Folie</vt:lpstr>
      <vt:lpstr>PowerPoint-Präsentation</vt:lpstr>
      <vt:lpstr>Switzerland listens to the radio digitally</vt:lpstr>
      <vt:lpstr>Stabilisation of usage share by mode of reception</vt:lpstr>
      <vt:lpstr>Radio use by language region</vt:lpstr>
      <vt:lpstr>Radio use by age</vt:lpstr>
      <vt:lpstr>Radio use by location</vt:lpstr>
      <vt:lpstr>Radio use by location and mode of reception</vt:lpstr>
      <vt:lpstr>Penetration by mode of reception</vt:lpstr>
      <vt:lpstr>Development of user share over time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Kollbrunner, Manuel (GD)</dc:creator>
  <cp:lastModifiedBy>Kluser Kathrin BAKOM</cp:lastModifiedBy>
  <cp:revision>1006</cp:revision>
  <cp:lastPrinted>2018-12-21T13:24:26Z</cp:lastPrinted>
  <dcterms:created xsi:type="dcterms:W3CDTF">2017-06-12T08:56:48Z</dcterms:created>
  <dcterms:modified xsi:type="dcterms:W3CDTF">2024-02-05T13:33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44C5F2FAA306D40AC15DB2EBE0DB8B4</vt:lpwstr>
  </property>
  <property fmtid="{D5CDD505-2E9C-101B-9397-08002B2CF9AE}" pid="3" name="MediaServiceImageTags">
    <vt:lpwstr/>
  </property>
</Properties>
</file>